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3" r:id="rId4"/>
  </p:sldMasterIdLst>
  <p:notesMasterIdLst>
    <p:notesMasterId r:id="rId24"/>
  </p:notesMasterIdLst>
  <p:sldIdLst>
    <p:sldId id="256" r:id="rId5"/>
    <p:sldId id="261" r:id="rId6"/>
    <p:sldId id="275" r:id="rId7"/>
    <p:sldId id="262" r:id="rId8"/>
    <p:sldId id="263" r:id="rId9"/>
    <p:sldId id="264" r:id="rId10"/>
    <p:sldId id="265" r:id="rId11"/>
    <p:sldId id="266" r:id="rId12"/>
    <p:sldId id="268" r:id="rId13"/>
    <p:sldId id="270" r:id="rId14"/>
    <p:sldId id="269" r:id="rId15"/>
    <p:sldId id="272" r:id="rId16"/>
    <p:sldId id="274" r:id="rId17"/>
    <p:sldId id="276" r:id="rId18"/>
    <p:sldId id="277" r:id="rId19"/>
    <p:sldId id="278" r:id="rId20"/>
    <p:sldId id="279" r:id="rId21"/>
    <p:sldId id="280" r:id="rId22"/>
    <p:sldId id="281" r:id="rId2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7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37E2A1F-D9F3-2F89-7038-DBDD27799D00}" name="Tibor Cornelli" initials="TC" userId="S::tibor.cornelli@stads.de::52b01486-0faf-4cb0-966d-73d6efd4c7dd" providerId="AD"/>
  <p188:author id="{1FF38136-1E0D-5980-AE62-562A278D2873}" name="Ricarda Link" initials="RL" userId="S::ricarda.link@stads.de::fed1340d-05ae-4e28-b1f1-b148b8b4e6b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050"/>
    <a:srgbClr val="FFFFFF"/>
    <a:srgbClr val="D9D9D9"/>
    <a:srgbClr val="00B0F0"/>
    <a:srgbClr val="D8D9D9"/>
    <a:srgbClr val="203864"/>
    <a:srgbClr val="000000"/>
    <a:srgbClr val="7030A0"/>
    <a:srgbClr val="FFFF00"/>
    <a:srgbClr val="07F2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–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–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–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–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60"/>
    <p:restoredTop sz="94694"/>
  </p:normalViewPr>
  <p:slideViewPr>
    <p:cSldViewPr snapToGrid="0">
      <p:cViewPr>
        <p:scale>
          <a:sx n="101" d="100"/>
          <a:sy n="101" d="100"/>
        </p:scale>
        <p:origin x="344" y="368"/>
      </p:cViewPr>
      <p:guideLst>
        <p:guide orient="horz" pos="238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B23751-0C91-3A4C-8331-A1668D28D80D}" type="datetimeFigureOut">
              <a:rPr lang="de-DE" smtClean="0"/>
              <a:t>23.10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39925C-FF96-7342-B10F-23C1A9C1F04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56777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 mit Bild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C7A705C-B2E4-4D5F-8AD4-531F93CD12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723756"/>
              </p:ext>
            </p:extLst>
          </p:nvPr>
        </p:nvGraphicFramePr>
        <p:xfrm>
          <a:off x="1440" y="1444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87" imgH="488" progId="TCLayout.ActiveDocument.1">
                  <p:embed/>
                </p:oleObj>
              </mc:Choice>
              <mc:Fallback>
                <p:oleObj name="think-cell Folie" r:id="rId4" imgW="487" imgH="48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C7A705C-B2E4-4D5F-8AD4-531F93CD1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0" y="1444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AE46E5DC-6022-4DF7-961F-061200D8A29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434" y="838729"/>
            <a:ext cx="5761567" cy="653171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3960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sz="3200" b="1" kern="0" dirty="0">
                <a:solidFill>
                  <a:schemeClr val="bg1"/>
                </a:solidFill>
                <a:latin typeface="+mj-lt"/>
                <a:ea typeface="ＭＳ Ｐゴシック" charset="0"/>
              </a:defRPr>
            </a:lvl1pPr>
          </a:lstStyle>
          <a:p>
            <a:pPr marL="0" lvl="0" eaLnBrk="1" latinLnBrk="0" hangingPunct="1">
              <a:spcBef>
                <a:spcPct val="0"/>
              </a:spcBef>
              <a:buClr>
                <a:schemeClr val="folHlink"/>
              </a:buClr>
              <a:buSzPct val="75000"/>
              <a:buFont typeface="Times" charset="0"/>
            </a:pPr>
            <a:r>
              <a:rPr lang="de-DE" dirty="0"/>
              <a:t>Titel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82E9D624-3269-46B5-8409-F482BABF09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4434" y="1491901"/>
            <a:ext cx="5761567" cy="390647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0" tIns="3960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2133" b="0" kern="0" dirty="0">
                <a:solidFill>
                  <a:schemeClr val="bg1"/>
                </a:solidFill>
                <a:latin typeface="+mn-lt"/>
                <a:ea typeface="ＭＳ Ｐゴシック" charset="0"/>
              </a:defRPr>
            </a:lvl1pPr>
          </a:lstStyle>
          <a:p>
            <a:pPr marL="305231" lvl="0" indent="-305231" eaLnBrk="1" latinLnBrk="0" hangingPunct="1">
              <a:spcBef>
                <a:spcPct val="0"/>
              </a:spcBef>
              <a:buClr>
                <a:schemeClr val="folHlink"/>
              </a:buClr>
              <a:buSzPct val="75000"/>
            </a:pPr>
            <a:r>
              <a:rPr lang="de-DE" dirty="0"/>
              <a:t>Untertitel</a:t>
            </a:r>
          </a:p>
        </p:txBody>
      </p:sp>
      <p:cxnSp>
        <p:nvCxnSpPr>
          <p:cNvPr id="18" name="Gerader Verbinder 8">
            <a:extLst>
              <a:ext uri="{FF2B5EF4-FFF2-40B4-BE49-F238E27FC236}">
                <a16:creationId xmlns:a16="http://schemas.microsoft.com/office/drawing/2014/main" id="{CE476B4F-B5D4-4A97-AD63-F544092357D6}"/>
              </a:ext>
            </a:extLst>
          </p:cNvPr>
          <p:cNvCxnSpPr>
            <a:cxnSpLocks/>
          </p:cNvCxnSpPr>
          <p:nvPr userDrawn="1"/>
        </p:nvCxnSpPr>
        <p:spPr>
          <a:xfrm>
            <a:off x="333507" y="1508523"/>
            <a:ext cx="576249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m 11">
            <a:extLst>
              <a:ext uri="{FF2B5EF4-FFF2-40B4-BE49-F238E27FC236}">
                <a16:creationId xmlns:a16="http://schemas.microsoft.com/office/drawing/2014/main" id="{F106EC31-E25C-4E14-AAED-65FB25FE2404}"/>
              </a:ext>
            </a:extLst>
          </p:cNvPr>
          <p:cNvSpPr/>
          <p:nvPr userDrawn="1"/>
        </p:nvSpPr>
        <p:spPr>
          <a:xfrm>
            <a:off x="5952233" y="-36083"/>
            <a:ext cx="7344139" cy="6894083"/>
          </a:xfrm>
          <a:prstGeom prst="parallelogram">
            <a:avLst>
              <a:gd name="adj" fmla="val 63085"/>
            </a:avLst>
          </a:prstGeom>
          <a:solidFill>
            <a:schemeClr val="accent5">
              <a:alpha val="8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820" tIns="44909" rIns="89820" bIns="449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defTabSz="94561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063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182057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_2_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698AAF-8523-4EA4-87ED-7CF3B22716D1}"/>
              </a:ext>
            </a:extLst>
          </p:cNvPr>
          <p:cNvSpPr/>
          <p:nvPr userDrawn="1"/>
        </p:nvSpPr>
        <p:spPr>
          <a:xfrm>
            <a:off x="3984000" y="0"/>
            <a:ext cx="8208000" cy="685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rgbClr val="1F3965"/>
              </a:gs>
              <a:gs pos="80000">
                <a:srgbClr val="5177B9"/>
              </a:gs>
              <a:gs pos="44000">
                <a:srgbClr val="31599E"/>
              </a:gs>
              <a:gs pos="100000">
                <a:srgbClr val="7094D3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3600" rIns="90000"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1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6" name="Slide Number Placeholder 18">
            <a:extLst>
              <a:ext uri="{FF2B5EF4-FFF2-40B4-BE49-F238E27FC236}">
                <a16:creationId xmlns:a16="http://schemas.microsoft.com/office/drawing/2014/main" id="{24156491-A466-492C-BA94-9CB7DF443F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75963" y="6424073"/>
            <a:ext cx="476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de-DE" sz="1100" b="1" smtClean="0">
                <a:solidFill>
                  <a:schemeClr val="bg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</a:lstStyle>
          <a:p>
            <a:fld id="{9DA5C334-A66F-BE4B-8043-072F869F08CC}" type="slidenum">
              <a:rPr lang="uk-UA" smtClean="0"/>
              <a:pPr/>
              <a:t>‹#›</a:t>
            </a:fld>
            <a:endParaRPr lang="uk-UA"/>
          </a:p>
        </p:txBody>
      </p:sp>
      <p:grpSp>
        <p:nvGrpSpPr>
          <p:cNvPr id="12" name="Group 10">
            <a:extLst>
              <a:ext uri="{FF2B5EF4-FFF2-40B4-BE49-F238E27FC236}">
                <a16:creationId xmlns:a16="http://schemas.microsoft.com/office/drawing/2014/main" id="{02216216-D55F-417C-BD55-47C38523DF14}"/>
              </a:ext>
            </a:extLst>
          </p:cNvPr>
          <p:cNvGrpSpPr/>
          <p:nvPr userDrawn="1"/>
        </p:nvGrpSpPr>
        <p:grpSpPr>
          <a:xfrm>
            <a:off x="839788" y="6341047"/>
            <a:ext cx="2001155" cy="369332"/>
            <a:chOff x="574633" y="720339"/>
            <a:chExt cx="3188444" cy="588457"/>
          </a:xfrm>
          <a:noFill/>
        </p:grpSpPr>
        <p:sp>
          <p:nvSpPr>
            <p:cNvPr id="13" name="TextBox 11">
              <a:extLst>
                <a:ext uri="{FF2B5EF4-FFF2-40B4-BE49-F238E27FC236}">
                  <a16:creationId xmlns:a16="http://schemas.microsoft.com/office/drawing/2014/main" id="{BCCFD619-F22F-4534-B58B-01C74C0F5CCF}"/>
                </a:ext>
              </a:extLst>
            </p:cNvPr>
            <p:cNvSpPr txBox="1"/>
            <p:nvPr/>
          </p:nvSpPr>
          <p:spPr>
            <a:xfrm>
              <a:off x="1806673" y="792655"/>
              <a:ext cx="1956404" cy="49038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GB" sz="700">
                  <a:solidFill>
                    <a:schemeClr val="accent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Medium" charset="0"/>
                  <a:ea typeface="Franklin Gothic Medium" charset="0"/>
                  <a:cs typeface="Franklin Gothic Medium" charset="0"/>
                </a:rPr>
                <a:t>Students’ Association for Data Analytics &amp; Statistics</a:t>
              </a:r>
            </a:p>
          </p:txBody>
        </p:sp>
        <p:sp>
          <p:nvSpPr>
            <p:cNvPr id="14" name="TextBox 12">
              <a:extLst>
                <a:ext uri="{FF2B5EF4-FFF2-40B4-BE49-F238E27FC236}">
                  <a16:creationId xmlns:a16="http://schemas.microsoft.com/office/drawing/2014/main" id="{3157167B-F090-43D0-B644-D45881A64B73}"/>
                </a:ext>
              </a:extLst>
            </p:cNvPr>
            <p:cNvSpPr txBox="1"/>
            <p:nvPr/>
          </p:nvSpPr>
          <p:spPr>
            <a:xfrm>
              <a:off x="574633" y="720339"/>
              <a:ext cx="1980536" cy="58845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de-DE">
                  <a:solidFill>
                    <a:schemeClr val="accent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Demi" charset="0"/>
                  <a:ea typeface="Franklin Gothic Demi" charset="0"/>
                  <a:cs typeface="Franklin Gothic Demi" charset="0"/>
                </a:rPr>
                <a:t>STADS</a:t>
              </a:r>
            </a:p>
          </p:txBody>
        </p:sp>
        <p:cxnSp>
          <p:nvCxnSpPr>
            <p:cNvPr id="15" name="Straight Connector 13">
              <a:extLst>
                <a:ext uri="{FF2B5EF4-FFF2-40B4-BE49-F238E27FC236}">
                  <a16:creationId xmlns:a16="http://schemas.microsoft.com/office/drawing/2014/main" id="{BE2C21E9-11F4-49C2-941F-15E2CD107FF7}"/>
                </a:ext>
              </a:extLst>
            </p:cNvPr>
            <p:cNvCxnSpPr/>
            <p:nvPr/>
          </p:nvCxnSpPr>
          <p:spPr>
            <a:xfrm>
              <a:off x="1869238" y="868979"/>
              <a:ext cx="0" cy="337418"/>
            </a:xfrm>
            <a:prstGeom prst="lin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82C860AA-D66B-43DA-9B24-4C80A8AAEF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4882" y="478050"/>
            <a:ext cx="7017331" cy="972000"/>
          </a:xfrm>
          <a:prstGeom prst="rect">
            <a:avLst/>
          </a:prstGeom>
          <a:noFill/>
        </p:spPr>
        <p:txBody>
          <a:bodyPr vert="horz" lIns="0" tIns="36000" rIns="0" bIns="3600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Titel</a:t>
            </a:r>
            <a:endParaRPr lang="en-US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46C118C7-2410-45AC-93E5-F7049C2146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4881" y="179035"/>
            <a:ext cx="7017331" cy="28800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>
            <a:lvl1pPr marL="0" indent="0">
              <a:buFont typeface="Arial" panose="020B0604020202020204" pitchFamily="34" charset="0"/>
              <a:buNone/>
              <a:defRPr lang="en-US" sz="1400" cap="all" baseline="0" dirty="0">
                <a:solidFill>
                  <a:schemeClr val="bg1">
                    <a:lumMod val="95000"/>
                  </a:schemeClr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pPr marL="0" lvl="0">
              <a:spcBef>
                <a:spcPct val="0"/>
              </a:spcBef>
            </a:pPr>
            <a:r>
              <a:rPr lang="en-US"/>
              <a:t>BREADCRUMBS – </a:t>
            </a:r>
            <a:r>
              <a:rPr lang="en-US" err="1"/>
              <a:t>Themenbereich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920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Agenda_2_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3A0D0342-558E-40A5-A447-A40D90CDF69E}"/>
              </a:ext>
            </a:extLst>
          </p:cNvPr>
          <p:cNvSpPr/>
          <p:nvPr userDrawn="1"/>
        </p:nvSpPr>
        <p:spPr>
          <a:xfrm>
            <a:off x="7244177" y="0"/>
            <a:ext cx="4947822" cy="6858000"/>
          </a:xfrm>
          <a:custGeom>
            <a:avLst/>
            <a:gdLst>
              <a:gd name="connsiteX0" fmla="*/ 0 w 4947822"/>
              <a:gd name="connsiteY0" fmla="*/ 0 h 6858000"/>
              <a:gd name="connsiteX1" fmla="*/ 3252755 w 4947822"/>
              <a:gd name="connsiteY1" fmla="*/ 0 h 6858000"/>
              <a:gd name="connsiteX2" fmla="*/ 3252756 w 4947822"/>
              <a:gd name="connsiteY2" fmla="*/ 0 h 6858000"/>
              <a:gd name="connsiteX3" fmla="*/ 4947822 w 4947822"/>
              <a:gd name="connsiteY3" fmla="*/ 0 h 6858000"/>
              <a:gd name="connsiteX4" fmla="*/ 4947822 w 4947822"/>
              <a:gd name="connsiteY4" fmla="*/ 6858000 h 6858000"/>
              <a:gd name="connsiteX5" fmla="*/ 3252756 w 4947822"/>
              <a:gd name="connsiteY5" fmla="*/ 6858000 h 6858000"/>
              <a:gd name="connsiteX6" fmla="*/ 3252755 w 4947822"/>
              <a:gd name="connsiteY6" fmla="*/ 6858000 h 6858000"/>
              <a:gd name="connsiteX7" fmla="*/ 0 w 4947822"/>
              <a:gd name="connsiteY7" fmla="*/ 6858000 h 6858000"/>
              <a:gd name="connsiteX8" fmla="*/ 1626378 w 4947822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47822" h="6858000">
                <a:moveTo>
                  <a:pt x="0" y="0"/>
                </a:moveTo>
                <a:lnTo>
                  <a:pt x="3252755" y="0"/>
                </a:lnTo>
                <a:lnTo>
                  <a:pt x="3252756" y="0"/>
                </a:lnTo>
                <a:lnTo>
                  <a:pt x="4947822" y="0"/>
                </a:lnTo>
                <a:lnTo>
                  <a:pt x="4947822" y="6858000"/>
                </a:lnTo>
                <a:lnTo>
                  <a:pt x="3252756" y="6858000"/>
                </a:lnTo>
                <a:lnTo>
                  <a:pt x="3252755" y="6858000"/>
                </a:lnTo>
                <a:lnTo>
                  <a:pt x="0" y="6858000"/>
                </a:lnTo>
                <a:lnTo>
                  <a:pt x="1626378" y="342900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rgbClr val="1F3965"/>
              </a:gs>
              <a:gs pos="80000">
                <a:srgbClr val="5177B9"/>
              </a:gs>
              <a:gs pos="44000">
                <a:srgbClr val="31599E"/>
              </a:gs>
              <a:gs pos="100000">
                <a:srgbClr val="7094D3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3600" rIns="90000" rtlCol="0" anchor="ctr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1" u="none" strike="noStrike" cap="none" spc="0" normalizeH="0" baseline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Franklin Gothic Book" panose="020B0503020102020204"/>
            </a:endParaRPr>
          </a:p>
        </p:txBody>
      </p:sp>
      <p:sp>
        <p:nvSpPr>
          <p:cNvPr id="5" name="Slide Number Placeholder 18">
            <a:extLst>
              <a:ext uri="{FF2B5EF4-FFF2-40B4-BE49-F238E27FC236}">
                <a16:creationId xmlns:a16="http://schemas.microsoft.com/office/drawing/2014/main" id="{27EB38B2-EC61-4D83-B703-F1888C03C4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75963" y="6424073"/>
            <a:ext cx="476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de-DE" sz="1100" b="1" smtClean="0">
                <a:solidFill>
                  <a:schemeClr val="bg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</a:lstStyle>
          <a:p>
            <a:fld id="{9DA5C334-A66F-BE4B-8043-072F869F08CC}" type="slidenum">
              <a:rPr lang="uk-UA" smtClean="0"/>
              <a:pPr/>
              <a:t>‹#›</a:t>
            </a:fld>
            <a:endParaRPr lang="uk-UA"/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E211CBE6-8428-4389-B35A-125B9755BA9C}"/>
              </a:ext>
            </a:extLst>
          </p:cNvPr>
          <p:cNvGrpSpPr/>
          <p:nvPr userDrawn="1"/>
        </p:nvGrpSpPr>
        <p:grpSpPr>
          <a:xfrm>
            <a:off x="839788" y="6341047"/>
            <a:ext cx="2001155" cy="369332"/>
            <a:chOff x="574633" y="720339"/>
            <a:chExt cx="3188444" cy="588457"/>
          </a:xfrm>
          <a:noFill/>
        </p:grpSpPr>
        <p:sp>
          <p:nvSpPr>
            <p:cNvPr id="14" name="TextBox 11">
              <a:extLst>
                <a:ext uri="{FF2B5EF4-FFF2-40B4-BE49-F238E27FC236}">
                  <a16:creationId xmlns:a16="http://schemas.microsoft.com/office/drawing/2014/main" id="{9BB8BDB4-AF1F-4DF0-B356-1DC1F85E0AEF}"/>
                </a:ext>
              </a:extLst>
            </p:cNvPr>
            <p:cNvSpPr txBox="1"/>
            <p:nvPr/>
          </p:nvSpPr>
          <p:spPr>
            <a:xfrm>
              <a:off x="1806673" y="792655"/>
              <a:ext cx="1956404" cy="49038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GB" sz="700">
                  <a:solidFill>
                    <a:schemeClr val="accent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Medium" charset="0"/>
                  <a:ea typeface="Franklin Gothic Medium" charset="0"/>
                  <a:cs typeface="Franklin Gothic Medium" charset="0"/>
                </a:rPr>
                <a:t>Students’ Association for Data Analytics &amp; Statistics</a:t>
              </a:r>
            </a:p>
          </p:txBody>
        </p:sp>
        <p:sp>
          <p:nvSpPr>
            <p:cNvPr id="15" name="TextBox 12">
              <a:extLst>
                <a:ext uri="{FF2B5EF4-FFF2-40B4-BE49-F238E27FC236}">
                  <a16:creationId xmlns:a16="http://schemas.microsoft.com/office/drawing/2014/main" id="{68A1EC02-75B6-415F-9F9D-BA735BF98DE3}"/>
                </a:ext>
              </a:extLst>
            </p:cNvPr>
            <p:cNvSpPr txBox="1"/>
            <p:nvPr/>
          </p:nvSpPr>
          <p:spPr>
            <a:xfrm>
              <a:off x="574633" y="720339"/>
              <a:ext cx="1980536" cy="58845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de-DE">
                  <a:solidFill>
                    <a:schemeClr val="accent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Demi" charset="0"/>
                  <a:ea typeface="Franklin Gothic Demi" charset="0"/>
                  <a:cs typeface="Franklin Gothic Demi" charset="0"/>
                </a:rPr>
                <a:t>STADS</a:t>
              </a:r>
            </a:p>
          </p:txBody>
        </p:sp>
        <p:cxnSp>
          <p:nvCxnSpPr>
            <p:cNvPr id="16" name="Straight Connector 13">
              <a:extLst>
                <a:ext uri="{FF2B5EF4-FFF2-40B4-BE49-F238E27FC236}">
                  <a16:creationId xmlns:a16="http://schemas.microsoft.com/office/drawing/2014/main" id="{EBD0D27C-F50E-4FC7-995A-00F16D3313CE}"/>
                </a:ext>
              </a:extLst>
            </p:cNvPr>
            <p:cNvCxnSpPr/>
            <p:nvPr/>
          </p:nvCxnSpPr>
          <p:spPr>
            <a:xfrm>
              <a:off x="1869238" y="868979"/>
              <a:ext cx="0" cy="337418"/>
            </a:xfrm>
            <a:prstGeom prst="lin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9A16279E-3DE9-44DB-A0FD-382738205B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2382" y="478050"/>
            <a:ext cx="5710818" cy="972000"/>
          </a:xfrm>
          <a:prstGeom prst="rect">
            <a:avLst/>
          </a:prstGeom>
          <a:noFill/>
        </p:spPr>
        <p:txBody>
          <a:bodyPr vert="horz" lIns="0" tIns="36000" rIns="0" bIns="36000" rtlCol="0" anchor="t">
            <a:noAutofit/>
          </a:bodyPr>
          <a:lstStyle>
            <a:lvl1pPr>
              <a:defRPr lang="en-US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Titel</a:t>
            </a:r>
            <a:endParaRPr lang="en-US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1197CA67-E944-40CE-870A-B85008B90A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962" y="179035"/>
            <a:ext cx="5710237" cy="28800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>
            <a:lvl1pPr marL="0" indent="0">
              <a:buFont typeface="Arial" panose="020B0604020202020204" pitchFamily="34" charset="0"/>
              <a:buNone/>
              <a:defRPr lang="en-US" sz="1400" cap="all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pPr marL="0" lvl="0">
              <a:spcBef>
                <a:spcPct val="0"/>
              </a:spcBef>
            </a:pPr>
            <a:r>
              <a:rPr lang="en-US"/>
              <a:t>BREADCRUMBS – </a:t>
            </a:r>
            <a:r>
              <a:rPr lang="en-US" err="1"/>
              <a:t>Themenbereich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6527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Agenda_2_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DF04B755-942A-4998-B3AB-FFA057110924}"/>
              </a:ext>
            </a:extLst>
          </p:cNvPr>
          <p:cNvSpPr/>
          <p:nvPr userDrawn="1"/>
        </p:nvSpPr>
        <p:spPr>
          <a:xfrm>
            <a:off x="5285898" y="0"/>
            <a:ext cx="6906102" cy="6858000"/>
          </a:xfrm>
          <a:custGeom>
            <a:avLst/>
            <a:gdLst>
              <a:gd name="connsiteX0" fmla="*/ 0 w 6906102"/>
              <a:gd name="connsiteY0" fmla="*/ 0 h 6858000"/>
              <a:gd name="connsiteX1" fmla="*/ 3252755 w 6906102"/>
              <a:gd name="connsiteY1" fmla="*/ 0 h 6858000"/>
              <a:gd name="connsiteX2" fmla="*/ 3252756 w 6906102"/>
              <a:gd name="connsiteY2" fmla="*/ 0 h 6858000"/>
              <a:gd name="connsiteX3" fmla="*/ 6906102 w 6906102"/>
              <a:gd name="connsiteY3" fmla="*/ 0 h 6858000"/>
              <a:gd name="connsiteX4" fmla="*/ 6906102 w 6906102"/>
              <a:gd name="connsiteY4" fmla="*/ 6858000 h 6858000"/>
              <a:gd name="connsiteX5" fmla="*/ 3252756 w 6906102"/>
              <a:gd name="connsiteY5" fmla="*/ 6858000 h 6858000"/>
              <a:gd name="connsiteX6" fmla="*/ 3252755 w 6906102"/>
              <a:gd name="connsiteY6" fmla="*/ 6858000 h 6858000"/>
              <a:gd name="connsiteX7" fmla="*/ 0 w 6906102"/>
              <a:gd name="connsiteY7" fmla="*/ 6858000 h 6858000"/>
              <a:gd name="connsiteX8" fmla="*/ 1626378 w 6906102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06102" h="6858000">
                <a:moveTo>
                  <a:pt x="0" y="0"/>
                </a:moveTo>
                <a:lnTo>
                  <a:pt x="3252755" y="0"/>
                </a:lnTo>
                <a:lnTo>
                  <a:pt x="3252756" y="0"/>
                </a:lnTo>
                <a:lnTo>
                  <a:pt x="6906102" y="0"/>
                </a:lnTo>
                <a:lnTo>
                  <a:pt x="6906102" y="6858000"/>
                </a:lnTo>
                <a:lnTo>
                  <a:pt x="3252756" y="6858000"/>
                </a:lnTo>
                <a:lnTo>
                  <a:pt x="3252755" y="6858000"/>
                </a:lnTo>
                <a:lnTo>
                  <a:pt x="0" y="6858000"/>
                </a:lnTo>
                <a:lnTo>
                  <a:pt x="1626378" y="342900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rgbClr val="1F3965"/>
              </a:gs>
              <a:gs pos="80000">
                <a:srgbClr val="5177B9"/>
              </a:gs>
              <a:gs pos="44000">
                <a:srgbClr val="31599E"/>
              </a:gs>
              <a:gs pos="100000">
                <a:srgbClr val="7094D3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3600" rIns="90000" rtlCol="0" anchor="ctr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1" u="none" strike="noStrike" cap="none" spc="0" normalizeH="0" baseline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Franklin Gothic Book" panose="020B0503020102020204"/>
            </a:endParaRPr>
          </a:p>
        </p:txBody>
      </p:sp>
      <p:sp>
        <p:nvSpPr>
          <p:cNvPr id="5" name="Slide Number Placeholder 18">
            <a:extLst>
              <a:ext uri="{FF2B5EF4-FFF2-40B4-BE49-F238E27FC236}">
                <a16:creationId xmlns:a16="http://schemas.microsoft.com/office/drawing/2014/main" id="{7221B506-4076-4AEB-A5A8-E2C01AB9BC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75963" y="6424073"/>
            <a:ext cx="476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de-DE" sz="1100" b="1" smtClean="0">
                <a:solidFill>
                  <a:schemeClr val="bg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</a:lstStyle>
          <a:p>
            <a:fld id="{9DA5C334-A66F-BE4B-8043-072F869F08CC}" type="slidenum">
              <a:rPr lang="uk-UA" smtClean="0"/>
              <a:pPr/>
              <a:t>‹#›</a:t>
            </a:fld>
            <a:endParaRPr lang="uk-UA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DF9A99A-A621-43FC-A8FB-6E22E1B3F595}"/>
              </a:ext>
            </a:extLst>
          </p:cNvPr>
          <p:cNvGrpSpPr/>
          <p:nvPr userDrawn="1"/>
        </p:nvGrpSpPr>
        <p:grpSpPr>
          <a:xfrm>
            <a:off x="839788" y="6341047"/>
            <a:ext cx="2001155" cy="369332"/>
            <a:chOff x="574633" y="720339"/>
            <a:chExt cx="3188444" cy="588457"/>
          </a:xfrm>
          <a:noFill/>
        </p:grpSpPr>
        <p:sp>
          <p:nvSpPr>
            <p:cNvPr id="14" name="TextBox 11">
              <a:extLst>
                <a:ext uri="{FF2B5EF4-FFF2-40B4-BE49-F238E27FC236}">
                  <a16:creationId xmlns:a16="http://schemas.microsoft.com/office/drawing/2014/main" id="{429312CB-FAD6-494C-AD77-D71EEF00B336}"/>
                </a:ext>
              </a:extLst>
            </p:cNvPr>
            <p:cNvSpPr txBox="1"/>
            <p:nvPr/>
          </p:nvSpPr>
          <p:spPr>
            <a:xfrm>
              <a:off x="1806673" y="792655"/>
              <a:ext cx="1956404" cy="49038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GB" sz="700">
                  <a:solidFill>
                    <a:schemeClr val="accent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Medium" charset="0"/>
                  <a:ea typeface="Franklin Gothic Medium" charset="0"/>
                  <a:cs typeface="Franklin Gothic Medium" charset="0"/>
                </a:rPr>
                <a:t>Students’ Association for Data Analytics &amp; Statistics</a:t>
              </a:r>
            </a:p>
          </p:txBody>
        </p:sp>
        <p:sp>
          <p:nvSpPr>
            <p:cNvPr id="15" name="TextBox 12">
              <a:extLst>
                <a:ext uri="{FF2B5EF4-FFF2-40B4-BE49-F238E27FC236}">
                  <a16:creationId xmlns:a16="http://schemas.microsoft.com/office/drawing/2014/main" id="{BBC8BE15-6742-48CB-BCD4-1D30691AAD40}"/>
                </a:ext>
              </a:extLst>
            </p:cNvPr>
            <p:cNvSpPr txBox="1"/>
            <p:nvPr/>
          </p:nvSpPr>
          <p:spPr>
            <a:xfrm>
              <a:off x="574633" y="720339"/>
              <a:ext cx="1980536" cy="58845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de-DE">
                  <a:solidFill>
                    <a:schemeClr val="accent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Demi" charset="0"/>
                  <a:ea typeface="Franklin Gothic Demi" charset="0"/>
                  <a:cs typeface="Franklin Gothic Demi" charset="0"/>
                </a:rPr>
                <a:t>STADS</a:t>
              </a:r>
            </a:p>
          </p:txBody>
        </p:sp>
        <p:cxnSp>
          <p:nvCxnSpPr>
            <p:cNvPr id="16" name="Straight Connector 13">
              <a:extLst>
                <a:ext uri="{FF2B5EF4-FFF2-40B4-BE49-F238E27FC236}">
                  <a16:creationId xmlns:a16="http://schemas.microsoft.com/office/drawing/2014/main" id="{506029EA-E487-4164-BB59-EFBA275BCF67}"/>
                </a:ext>
              </a:extLst>
            </p:cNvPr>
            <p:cNvCxnSpPr/>
            <p:nvPr/>
          </p:nvCxnSpPr>
          <p:spPr>
            <a:xfrm>
              <a:off x="1869238" y="868979"/>
              <a:ext cx="0" cy="337418"/>
            </a:xfrm>
            <a:prstGeom prst="lin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419169F0-AFCC-46C8-9AFA-9484895785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2383" y="478050"/>
            <a:ext cx="4199518" cy="972000"/>
          </a:xfrm>
          <a:prstGeom prst="rect">
            <a:avLst/>
          </a:prstGeom>
          <a:noFill/>
        </p:spPr>
        <p:txBody>
          <a:bodyPr vert="horz" lIns="0" tIns="36000" rIns="0" bIns="36000" rtlCol="0" anchor="t">
            <a:noAutofit/>
          </a:bodyPr>
          <a:lstStyle>
            <a:lvl1pPr>
              <a:defRPr lang="en-US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Titel</a:t>
            </a:r>
            <a:endParaRPr lang="en-US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8CC8EF3-4D56-43B7-8211-E8D1CD35BB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963" y="179035"/>
            <a:ext cx="4198938" cy="28800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>
            <a:lvl1pPr marL="0" indent="0">
              <a:buFont typeface="Arial" panose="020B0604020202020204" pitchFamily="34" charset="0"/>
              <a:buNone/>
              <a:defRPr lang="en-US" sz="1400" cap="all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pPr marL="0" lvl="0">
              <a:spcBef>
                <a:spcPct val="0"/>
              </a:spcBef>
            </a:pPr>
            <a:r>
              <a:rPr lang="en-US"/>
              <a:t>BREADCRUMBS – </a:t>
            </a:r>
            <a:r>
              <a:rPr lang="en-US" err="1"/>
              <a:t>Themenbereich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8436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Agenda_2_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E5F51C62-8099-4B51-9E55-621A81CE5B44}"/>
              </a:ext>
            </a:extLst>
          </p:cNvPr>
          <p:cNvSpPr/>
          <p:nvPr userDrawn="1"/>
        </p:nvSpPr>
        <p:spPr>
          <a:xfrm>
            <a:off x="3332178" y="0"/>
            <a:ext cx="8859822" cy="6858000"/>
          </a:xfrm>
          <a:custGeom>
            <a:avLst/>
            <a:gdLst>
              <a:gd name="connsiteX0" fmla="*/ 3252757 w 8859822"/>
              <a:gd name="connsiteY0" fmla="*/ 0 h 6858000"/>
              <a:gd name="connsiteX1" fmla="*/ 8859822 w 8859822"/>
              <a:gd name="connsiteY1" fmla="*/ 0 h 6858000"/>
              <a:gd name="connsiteX2" fmla="*/ 8859822 w 8859822"/>
              <a:gd name="connsiteY2" fmla="*/ 6858000 h 6858000"/>
              <a:gd name="connsiteX3" fmla="*/ 3252757 w 8859822"/>
              <a:gd name="connsiteY3" fmla="*/ 6858000 h 6858000"/>
              <a:gd name="connsiteX4" fmla="*/ 0 w 8859822"/>
              <a:gd name="connsiteY4" fmla="*/ 0 h 6858000"/>
              <a:gd name="connsiteX5" fmla="*/ 3252756 w 8859822"/>
              <a:gd name="connsiteY5" fmla="*/ 0 h 6858000"/>
              <a:gd name="connsiteX6" fmla="*/ 3252756 w 8859822"/>
              <a:gd name="connsiteY6" fmla="*/ 6858000 h 6858000"/>
              <a:gd name="connsiteX7" fmla="*/ 0 w 8859822"/>
              <a:gd name="connsiteY7" fmla="*/ 6858000 h 6858000"/>
              <a:gd name="connsiteX8" fmla="*/ 1626378 w 8859822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59822" h="6858000">
                <a:moveTo>
                  <a:pt x="3252757" y="0"/>
                </a:moveTo>
                <a:lnTo>
                  <a:pt x="8859822" y="0"/>
                </a:lnTo>
                <a:lnTo>
                  <a:pt x="8859822" y="6858000"/>
                </a:lnTo>
                <a:lnTo>
                  <a:pt x="3252757" y="6858000"/>
                </a:lnTo>
                <a:close/>
                <a:moveTo>
                  <a:pt x="0" y="0"/>
                </a:moveTo>
                <a:lnTo>
                  <a:pt x="3252756" y="0"/>
                </a:lnTo>
                <a:lnTo>
                  <a:pt x="3252756" y="6858000"/>
                </a:lnTo>
                <a:lnTo>
                  <a:pt x="0" y="6858000"/>
                </a:lnTo>
                <a:lnTo>
                  <a:pt x="1626378" y="342900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rgbClr val="1F3965"/>
              </a:gs>
              <a:gs pos="80000">
                <a:srgbClr val="5177B9"/>
              </a:gs>
              <a:gs pos="44000">
                <a:srgbClr val="31599E"/>
              </a:gs>
              <a:gs pos="100000">
                <a:srgbClr val="7094D3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3600" rIns="90000" rtlCol="0" anchor="ctr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1" u="none" strike="noStrike" cap="none" spc="0" normalizeH="0" baseline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Franklin Gothic Book" panose="020B0503020102020204"/>
            </a:endParaRPr>
          </a:p>
        </p:txBody>
      </p:sp>
      <p:sp>
        <p:nvSpPr>
          <p:cNvPr id="5" name="Slide Number Placeholder 18">
            <a:extLst>
              <a:ext uri="{FF2B5EF4-FFF2-40B4-BE49-F238E27FC236}">
                <a16:creationId xmlns:a16="http://schemas.microsoft.com/office/drawing/2014/main" id="{F67DA595-19A1-4C15-A6A3-46770A9726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75963" y="6424073"/>
            <a:ext cx="476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de-DE" sz="1100" b="1" smtClean="0">
                <a:solidFill>
                  <a:schemeClr val="bg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</a:lstStyle>
          <a:p>
            <a:fld id="{9DA5C334-A66F-BE4B-8043-072F869F08CC}" type="slidenum">
              <a:rPr lang="uk-UA" smtClean="0"/>
              <a:pPr/>
              <a:t>‹#›</a:t>
            </a:fld>
            <a:endParaRPr lang="uk-UA"/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635DDDEF-594F-4F98-9883-AAC5038209A0}"/>
              </a:ext>
            </a:extLst>
          </p:cNvPr>
          <p:cNvGrpSpPr/>
          <p:nvPr userDrawn="1"/>
        </p:nvGrpSpPr>
        <p:grpSpPr>
          <a:xfrm>
            <a:off x="839788" y="6341047"/>
            <a:ext cx="2001155" cy="369332"/>
            <a:chOff x="574633" y="720339"/>
            <a:chExt cx="3188444" cy="588457"/>
          </a:xfrm>
          <a:noFill/>
        </p:grpSpPr>
        <p:sp>
          <p:nvSpPr>
            <p:cNvPr id="14" name="TextBox 11">
              <a:extLst>
                <a:ext uri="{FF2B5EF4-FFF2-40B4-BE49-F238E27FC236}">
                  <a16:creationId xmlns:a16="http://schemas.microsoft.com/office/drawing/2014/main" id="{E16741CB-73F2-4765-9ED4-BC4360BADEAA}"/>
                </a:ext>
              </a:extLst>
            </p:cNvPr>
            <p:cNvSpPr txBox="1"/>
            <p:nvPr/>
          </p:nvSpPr>
          <p:spPr>
            <a:xfrm>
              <a:off x="1806673" y="792655"/>
              <a:ext cx="1956404" cy="49038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GB" sz="700">
                  <a:solidFill>
                    <a:schemeClr val="accent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Medium" charset="0"/>
                  <a:ea typeface="Franklin Gothic Medium" charset="0"/>
                  <a:cs typeface="Franklin Gothic Medium" charset="0"/>
                </a:rPr>
                <a:t>Students’ Association for Data Analytics &amp; Statistics</a:t>
              </a:r>
            </a:p>
          </p:txBody>
        </p:sp>
        <p:sp>
          <p:nvSpPr>
            <p:cNvPr id="15" name="TextBox 12">
              <a:extLst>
                <a:ext uri="{FF2B5EF4-FFF2-40B4-BE49-F238E27FC236}">
                  <a16:creationId xmlns:a16="http://schemas.microsoft.com/office/drawing/2014/main" id="{EA118345-7FA7-43B3-A1EB-5D88873F8CF4}"/>
                </a:ext>
              </a:extLst>
            </p:cNvPr>
            <p:cNvSpPr txBox="1"/>
            <p:nvPr/>
          </p:nvSpPr>
          <p:spPr>
            <a:xfrm>
              <a:off x="574633" y="720339"/>
              <a:ext cx="1980536" cy="58845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de-DE">
                  <a:solidFill>
                    <a:schemeClr val="accent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Demi" charset="0"/>
                  <a:ea typeface="Franklin Gothic Demi" charset="0"/>
                  <a:cs typeface="Franklin Gothic Demi" charset="0"/>
                </a:rPr>
                <a:t>STADS</a:t>
              </a:r>
            </a:p>
          </p:txBody>
        </p:sp>
        <p:cxnSp>
          <p:nvCxnSpPr>
            <p:cNvPr id="16" name="Straight Connector 13">
              <a:extLst>
                <a:ext uri="{FF2B5EF4-FFF2-40B4-BE49-F238E27FC236}">
                  <a16:creationId xmlns:a16="http://schemas.microsoft.com/office/drawing/2014/main" id="{DE46699C-BF2F-4BFD-A0EF-80A0B30EB2F4}"/>
                </a:ext>
              </a:extLst>
            </p:cNvPr>
            <p:cNvCxnSpPr/>
            <p:nvPr/>
          </p:nvCxnSpPr>
          <p:spPr>
            <a:xfrm>
              <a:off x="1869238" y="868979"/>
              <a:ext cx="0" cy="337418"/>
            </a:xfrm>
            <a:prstGeom prst="lin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9531958B-E26E-43D3-941A-FB7BD85C85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9900" y="478050"/>
            <a:ext cx="5798519" cy="972000"/>
          </a:xfrm>
          <a:prstGeom prst="rect">
            <a:avLst/>
          </a:prstGeom>
          <a:noFill/>
        </p:spPr>
        <p:txBody>
          <a:bodyPr vert="horz" lIns="0" tIns="36000" rIns="0" bIns="3600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Titel</a:t>
            </a:r>
            <a:endParaRPr lang="en-US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B375AF8-F695-4A6C-863C-CCD5E22AB6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9900" y="179035"/>
            <a:ext cx="5802312" cy="28800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>
            <a:lvl1pPr marL="0" indent="0">
              <a:buFont typeface="Arial" panose="020B0604020202020204" pitchFamily="34" charset="0"/>
              <a:buNone/>
              <a:defRPr lang="en-US" sz="1400" cap="all" baseline="0" dirty="0">
                <a:solidFill>
                  <a:schemeClr val="bg1">
                    <a:lumMod val="95000"/>
                  </a:schemeClr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pPr marL="0" lvl="0">
              <a:spcBef>
                <a:spcPct val="0"/>
              </a:spcBef>
            </a:pPr>
            <a:r>
              <a:rPr lang="en-US"/>
              <a:t>BREADCRUMBS – </a:t>
            </a:r>
            <a:r>
              <a:rPr lang="en-US" err="1"/>
              <a:t>Themenbereich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35384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3302698F-2D25-467A-B9AD-381A81FB38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2381" y="478049"/>
            <a:ext cx="10512000" cy="610975"/>
          </a:xfrm>
          <a:prstGeom prst="rect">
            <a:avLst/>
          </a:prstGeom>
          <a:noFill/>
        </p:spPr>
        <p:txBody>
          <a:bodyPr vert="horz" lIns="0" tIns="36000" rIns="0" bIns="36000" rtlCol="0" anchor="t">
            <a:noAutofit/>
          </a:bodyPr>
          <a:lstStyle>
            <a:lvl1pPr>
              <a:defRPr lang="en-US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Die </a:t>
            </a:r>
            <a:r>
              <a:rPr lang="en-US" err="1"/>
              <a:t>heutigen</a:t>
            </a:r>
            <a:r>
              <a:rPr lang="en-US"/>
              <a:t> </a:t>
            </a:r>
            <a:r>
              <a:rPr lang="en-US" err="1"/>
              <a:t>Themen</a:t>
            </a:r>
            <a:endParaRPr lang="en-US"/>
          </a:p>
        </p:txBody>
      </p:sp>
      <p:grpSp>
        <p:nvGrpSpPr>
          <p:cNvPr id="5" name="Gruppieren 69">
            <a:extLst>
              <a:ext uri="{FF2B5EF4-FFF2-40B4-BE49-F238E27FC236}">
                <a16:creationId xmlns:a16="http://schemas.microsoft.com/office/drawing/2014/main" id="{32FF8D2D-8EF5-42D9-B5B0-F72B1F513D04}"/>
              </a:ext>
            </a:extLst>
          </p:cNvPr>
          <p:cNvGrpSpPr/>
          <p:nvPr userDrawn="1"/>
        </p:nvGrpSpPr>
        <p:grpSpPr>
          <a:xfrm>
            <a:off x="838200" y="3072032"/>
            <a:ext cx="10515600" cy="768091"/>
            <a:chOff x="838200" y="1221618"/>
            <a:chExt cx="10515600" cy="768091"/>
          </a:xfrm>
        </p:grpSpPr>
        <p:sp>
          <p:nvSpPr>
            <p:cNvPr id="6" name="Rectangle 21">
              <a:extLst>
                <a:ext uri="{FF2B5EF4-FFF2-40B4-BE49-F238E27FC236}">
                  <a16:creationId xmlns:a16="http://schemas.microsoft.com/office/drawing/2014/main" id="{CB6332B0-6103-4B62-8DB5-660FD8258A34}"/>
                </a:ext>
              </a:extLst>
            </p:cNvPr>
            <p:cNvSpPr/>
            <p:nvPr/>
          </p:nvSpPr>
          <p:spPr>
            <a:xfrm>
              <a:off x="838200" y="1224443"/>
              <a:ext cx="10515600" cy="765266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" name="Rectangle 23">
              <a:extLst>
                <a:ext uri="{FF2B5EF4-FFF2-40B4-BE49-F238E27FC236}">
                  <a16:creationId xmlns:a16="http://schemas.microsoft.com/office/drawing/2014/main" id="{9A25FB4E-EBC0-4BC7-987D-5CA91B0E3B52}"/>
                </a:ext>
              </a:extLst>
            </p:cNvPr>
            <p:cNvSpPr/>
            <p:nvPr/>
          </p:nvSpPr>
          <p:spPr>
            <a:xfrm>
              <a:off x="838200" y="1221618"/>
              <a:ext cx="851338" cy="76526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Heavy" charset="0"/>
                  <a:ea typeface="Franklin Gothic Heavy" charset="0"/>
                  <a:cs typeface="Franklin Gothic Heavy" charset="0"/>
                </a:rPr>
                <a:t>2</a:t>
              </a:r>
            </a:p>
          </p:txBody>
        </p:sp>
      </p:grpSp>
      <p:grpSp>
        <p:nvGrpSpPr>
          <p:cNvPr id="9" name="Gruppieren 64">
            <a:extLst>
              <a:ext uri="{FF2B5EF4-FFF2-40B4-BE49-F238E27FC236}">
                <a16:creationId xmlns:a16="http://schemas.microsoft.com/office/drawing/2014/main" id="{5FF6FD85-5420-4EA8-BDFD-37A29E638728}"/>
              </a:ext>
            </a:extLst>
          </p:cNvPr>
          <p:cNvGrpSpPr/>
          <p:nvPr userDrawn="1"/>
        </p:nvGrpSpPr>
        <p:grpSpPr>
          <a:xfrm>
            <a:off x="838200" y="2156195"/>
            <a:ext cx="10515600" cy="768091"/>
            <a:chOff x="838200" y="1221618"/>
            <a:chExt cx="10515600" cy="768091"/>
          </a:xfrm>
        </p:grpSpPr>
        <p:sp>
          <p:nvSpPr>
            <p:cNvPr id="11" name="Rectangle 21">
              <a:extLst>
                <a:ext uri="{FF2B5EF4-FFF2-40B4-BE49-F238E27FC236}">
                  <a16:creationId xmlns:a16="http://schemas.microsoft.com/office/drawing/2014/main" id="{A1EE4319-37DA-40E8-B384-ECD43EDE1F91}"/>
                </a:ext>
              </a:extLst>
            </p:cNvPr>
            <p:cNvSpPr/>
            <p:nvPr/>
          </p:nvSpPr>
          <p:spPr>
            <a:xfrm>
              <a:off x="838200" y="1224443"/>
              <a:ext cx="10515600" cy="765266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14" name="Rectangle 23">
              <a:extLst>
                <a:ext uri="{FF2B5EF4-FFF2-40B4-BE49-F238E27FC236}">
                  <a16:creationId xmlns:a16="http://schemas.microsoft.com/office/drawing/2014/main" id="{04F80292-116D-4CE5-BCAF-327F7562D165}"/>
                </a:ext>
              </a:extLst>
            </p:cNvPr>
            <p:cNvSpPr/>
            <p:nvPr/>
          </p:nvSpPr>
          <p:spPr>
            <a:xfrm>
              <a:off x="838200" y="1221618"/>
              <a:ext cx="851338" cy="76526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Heavy" charset="0"/>
                  <a:ea typeface="Franklin Gothic Heavy" charset="0"/>
                  <a:cs typeface="Franklin Gothic Heavy" charset="0"/>
                </a:rPr>
                <a:t>1</a:t>
              </a:r>
            </a:p>
          </p:txBody>
        </p:sp>
      </p:grpSp>
      <p:pic>
        <p:nvPicPr>
          <p:cNvPr id="16" name="Picture 2">
            <a:extLst>
              <a:ext uri="{FF2B5EF4-FFF2-40B4-BE49-F238E27FC236}">
                <a16:creationId xmlns:a16="http://schemas.microsoft.com/office/drawing/2014/main" id="{DC6A3A43-5E44-40C0-A514-C562004DB4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8531" y="3145754"/>
            <a:ext cx="630000" cy="63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>
            <a:extLst>
              <a:ext uri="{FF2B5EF4-FFF2-40B4-BE49-F238E27FC236}">
                <a16:creationId xmlns:a16="http://schemas.microsoft.com/office/drawing/2014/main" id="{5EEAFBE4-9A8D-4103-BB61-BAD43254C1B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8531" y="2221340"/>
            <a:ext cx="630000" cy="63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uppieren 69">
            <a:extLst>
              <a:ext uri="{FF2B5EF4-FFF2-40B4-BE49-F238E27FC236}">
                <a16:creationId xmlns:a16="http://schemas.microsoft.com/office/drawing/2014/main" id="{50238204-572D-4826-BEAB-E181A42306A2}"/>
              </a:ext>
            </a:extLst>
          </p:cNvPr>
          <p:cNvGrpSpPr/>
          <p:nvPr userDrawn="1"/>
        </p:nvGrpSpPr>
        <p:grpSpPr>
          <a:xfrm>
            <a:off x="838200" y="3988226"/>
            <a:ext cx="10515600" cy="768091"/>
            <a:chOff x="838200" y="1221618"/>
            <a:chExt cx="10515600" cy="76809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5172F63-EA69-482D-AA09-D552FB44423B}"/>
                </a:ext>
              </a:extLst>
            </p:cNvPr>
            <p:cNvSpPr/>
            <p:nvPr/>
          </p:nvSpPr>
          <p:spPr>
            <a:xfrm>
              <a:off x="838200" y="1224443"/>
              <a:ext cx="10515600" cy="765266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DE140C3-1CA6-4458-9B51-C561E7A32D79}"/>
                </a:ext>
              </a:extLst>
            </p:cNvPr>
            <p:cNvSpPr/>
            <p:nvPr/>
          </p:nvSpPr>
          <p:spPr>
            <a:xfrm>
              <a:off x="838200" y="1221618"/>
              <a:ext cx="851338" cy="76526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3200">
                  <a:solidFill>
                    <a:srgbClr val="FFFFFF"/>
                  </a:solidFill>
                  <a:latin typeface="Franklin Gothic Heavy" charset="0"/>
                  <a:ea typeface="Franklin Gothic Heavy" charset="0"/>
                  <a:cs typeface="Franklin Gothic Heavy" charset="0"/>
                </a:rPr>
                <a:t>3</a:t>
              </a:r>
              <a:endParaRPr kumimoji="0" lang="de-DE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Heavy" charset="0"/>
                <a:ea typeface="Franklin Gothic Heavy" charset="0"/>
                <a:cs typeface="Franklin Gothic Heavy" charset="0"/>
              </a:endParaRPr>
            </a:p>
          </p:txBody>
        </p:sp>
      </p:grpSp>
      <p:pic>
        <p:nvPicPr>
          <p:cNvPr id="22" name="Grafik 36">
            <a:extLst>
              <a:ext uri="{FF2B5EF4-FFF2-40B4-BE49-F238E27FC236}">
                <a16:creationId xmlns:a16="http://schemas.microsoft.com/office/drawing/2014/main" id="{C068187C-1FD7-4E39-B1A6-4CBD4EA988D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518531" y="4054515"/>
            <a:ext cx="630000" cy="630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E5CC66-6A60-4633-B1E1-FBB6B88B56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95475" y="2273540"/>
            <a:ext cx="7486650" cy="5334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400">
                <a:latin typeface="+mj-lt"/>
              </a:defRPr>
            </a:lvl1pPr>
          </a:lstStyle>
          <a:p>
            <a:pPr lvl="0"/>
            <a:r>
              <a:rPr lang="de-DE"/>
              <a:t>Thema 1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33D59B7-679F-4BB1-B853-63061BD1AA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95475" y="3189377"/>
            <a:ext cx="7486650" cy="533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 lang="de-DE" sz="2400" dirty="0">
                <a:latin typeface="+mj-lt"/>
              </a:defRPr>
            </a:lvl1pPr>
          </a:lstStyle>
          <a:p>
            <a:pPr marL="228600" lvl="0" indent="-228600"/>
            <a:r>
              <a:rPr lang="de-DE"/>
              <a:t>Thema 2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6CAF22A-7650-4C6F-AD11-C069191875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95475" y="4105571"/>
            <a:ext cx="7486650" cy="5334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de-DE" sz="2400" kern="1200" dirty="0" smtClean="0">
                <a:solidFill>
                  <a:schemeClr val="tx1"/>
                </a:solidFill>
                <a:latin typeface="+mj-lt"/>
                <a:ea typeface="Franklin Gothic Book" charset="0"/>
                <a:cs typeface="Franklin Gothic Book" charset="0"/>
              </a:defRPr>
            </a:lvl1pPr>
          </a:lstStyle>
          <a:p>
            <a:pPr lvl="0"/>
            <a:r>
              <a:rPr lang="de-DE"/>
              <a:t>Thema 3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3CC01559-CE77-AA17-3A26-A08CD943E3C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962" y="179035"/>
            <a:ext cx="10510837" cy="28800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>
            <a:lvl1pPr marL="0" indent="0">
              <a:buFont typeface="Arial" panose="020B0604020202020204" pitchFamily="34" charset="0"/>
              <a:buNone/>
              <a:defRPr lang="en-US" sz="1400" cap="all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pPr marL="0" lvl="0">
              <a:spcBef>
                <a:spcPct val="0"/>
              </a:spcBef>
            </a:pPr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89278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3302698F-2D25-467A-B9AD-381A81FB38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2381" y="478049"/>
            <a:ext cx="10512000" cy="610975"/>
          </a:xfrm>
          <a:prstGeom prst="rect">
            <a:avLst/>
          </a:prstGeom>
          <a:noFill/>
        </p:spPr>
        <p:txBody>
          <a:bodyPr vert="horz" lIns="0" tIns="36000" rIns="0" bIns="36000" rtlCol="0" anchor="t">
            <a:noAutofit/>
          </a:bodyPr>
          <a:lstStyle>
            <a:lvl1pPr>
              <a:defRPr lang="en-US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Die </a:t>
            </a:r>
            <a:r>
              <a:rPr lang="en-US" err="1"/>
              <a:t>heutigen</a:t>
            </a:r>
            <a:r>
              <a:rPr lang="en-US"/>
              <a:t> </a:t>
            </a:r>
            <a:r>
              <a:rPr lang="en-US" err="1"/>
              <a:t>Themen</a:t>
            </a:r>
            <a:endParaRPr lang="en-US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3CC01559-CE77-AA17-3A26-A08CD943E3C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962" y="179035"/>
            <a:ext cx="10510837" cy="28800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>
            <a:lvl1pPr marL="0" indent="0">
              <a:buFont typeface="Arial" panose="020B0604020202020204" pitchFamily="34" charset="0"/>
              <a:buNone/>
              <a:defRPr lang="en-US" sz="1400" cap="all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pPr marL="0" lvl="0">
              <a:spcBef>
                <a:spcPct val="0"/>
              </a:spcBef>
            </a:pPr>
            <a:r>
              <a:rPr lang="en-US"/>
              <a:t>Agenda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D88DDA35-BD1D-D9F9-5C76-4157CD4D058B}"/>
              </a:ext>
            </a:extLst>
          </p:cNvPr>
          <p:cNvSpPr/>
          <p:nvPr userDrawn="1"/>
        </p:nvSpPr>
        <p:spPr>
          <a:xfrm>
            <a:off x="842381" y="1449388"/>
            <a:ext cx="3022048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A612118-4CA7-CF84-DB9A-C94BCEEEB8BB}"/>
              </a:ext>
            </a:extLst>
          </p:cNvPr>
          <p:cNvSpPr/>
          <p:nvPr userDrawn="1"/>
        </p:nvSpPr>
        <p:spPr>
          <a:xfrm>
            <a:off x="4586273" y="1449388"/>
            <a:ext cx="3022048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E860723-2244-34AD-8812-407B6620F7FB}"/>
              </a:ext>
            </a:extLst>
          </p:cNvPr>
          <p:cNvSpPr/>
          <p:nvPr userDrawn="1"/>
        </p:nvSpPr>
        <p:spPr>
          <a:xfrm>
            <a:off x="8330165" y="1449388"/>
            <a:ext cx="3022048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180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698AAF-8523-4EA4-87ED-7CF3B22716D1}"/>
              </a:ext>
            </a:extLst>
          </p:cNvPr>
          <p:cNvSpPr/>
          <p:nvPr userDrawn="1"/>
        </p:nvSpPr>
        <p:spPr>
          <a:xfrm>
            <a:off x="1" y="0"/>
            <a:ext cx="3976575" cy="685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rgbClr val="1F3965"/>
              </a:gs>
              <a:gs pos="80000">
                <a:srgbClr val="5177B9"/>
              </a:gs>
              <a:gs pos="44000">
                <a:srgbClr val="31599E"/>
              </a:gs>
              <a:gs pos="100000">
                <a:srgbClr val="7094D3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3600" rIns="90000"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1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DD6A849-E184-4A3F-8618-5304712F51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6363" y="2496123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OP 1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ABEB200-51F4-4B32-9C5B-EB74BBFCDC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16363" y="3014882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OP 2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EF3C2BB-A586-4B17-AB1C-66F1016166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6363" y="3533641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OP 3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4F58F6D-5153-4A9F-942B-ABB91607B0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16363" y="4052400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OP 4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0EECE86-E7DD-4AF6-80F7-AD5A223E64F3}"/>
              </a:ext>
            </a:extLst>
          </p:cNvPr>
          <p:cNvGrpSpPr/>
          <p:nvPr userDrawn="1"/>
        </p:nvGrpSpPr>
        <p:grpSpPr>
          <a:xfrm>
            <a:off x="839788" y="6341047"/>
            <a:ext cx="2001155" cy="369332"/>
            <a:chOff x="574633" y="720339"/>
            <a:chExt cx="3188444" cy="588457"/>
          </a:xfrm>
          <a:noFill/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39904FD-ACA6-404B-AD3F-FF04357E01BB}"/>
                </a:ext>
              </a:extLst>
            </p:cNvPr>
            <p:cNvSpPr txBox="1"/>
            <p:nvPr/>
          </p:nvSpPr>
          <p:spPr>
            <a:xfrm>
              <a:off x="1806673" y="792655"/>
              <a:ext cx="1956404" cy="49038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GB" sz="700">
                  <a:solidFill>
                    <a:schemeClr val="bg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Medium" charset="0"/>
                  <a:ea typeface="Franklin Gothic Medium" charset="0"/>
                  <a:cs typeface="Franklin Gothic Medium" charset="0"/>
                </a:rPr>
                <a:t>Students’ Association for Data Analytics &amp; Statistic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F4EB27E-7228-48A5-A85E-5FB3D12169F6}"/>
                </a:ext>
              </a:extLst>
            </p:cNvPr>
            <p:cNvSpPr txBox="1"/>
            <p:nvPr/>
          </p:nvSpPr>
          <p:spPr>
            <a:xfrm>
              <a:off x="574633" y="720339"/>
              <a:ext cx="1980536" cy="58845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de-DE">
                  <a:solidFill>
                    <a:schemeClr val="bg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Demi" charset="0"/>
                  <a:ea typeface="Franklin Gothic Demi" charset="0"/>
                  <a:cs typeface="Franklin Gothic Demi" charset="0"/>
                </a:rPr>
                <a:t>STADS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1B5A2D5B-CCCB-4A63-AABE-7DA84DBC30C7}"/>
                </a:ext>
              </a:extLst>
            </p:cNvPr>
            <p:cNvCxnSpPr/>
            <p:nvPr/>
          </p:nvCxnSpPr>
          <p:spPr>
            <a:xfrm>
              <a:off x="1869238" y="868979"/>
              <a:ext cx="0" cy="337418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8EAAAC14-1EFC-40AC-BD2C-AFAE7EEA7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2382" y="2169000"/>
            <a:ext cx="2880000" cy="2520000"/>
          </a:xfrm>
          <a:prstGeom prst="rect">
            <a:avLst/>
          </a:prstGeom>
          <a:noFill/>
        </p:spPr>
        <p:txBody>
          <a:bodyPr vert="horz" lIns="0" tIns="36000" rIns="0" bIns="36000" rtlCol="0" anchor="ctr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979846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2_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698AAF-8523-4EA4-87ED-7CF3B22716D1}"/>
              </a:ext>
            </a:extLst>
          </p:cNvPr>
          <p:cNvSpPr/>
          <p:nvPr userDrawn="1"/>
        </p:nvSpPr>
        <p:spPr>
          <a:xfrm>
            <a:off x="1" y="0"/>
            <a:ext cx="3976575" cy="685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rgbClr val="1F3965"/>
              </a:gs>
              <a:gs pos="80000">
                <a:srgbClr val="5177B9"/>
              </a:gs>
              <a:gs pos="44000">
                <a:srgbClr val="31599E"/>
              </a:gs>
              <a:gs pos="100000">
                <a:srgbClr val="7094D3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3600" rIns="90000"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1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DD6A849-E184-4A3F-8618-5304712F51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6363" y="2496123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OP 1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ABEB200-51F4-4B32-9C5B-EB74BBFCDC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16363" y="3014882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de-DE"/>
              <a:t>TOP 2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EF3C2BB-A586-4B17-AB1C-66F1016166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6363" y="3533641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de-DE"/>
              <a:t>TOP 3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4F58F6D-5153-4A9F-942B-ABB91607B0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16363" y="4052400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de-DE"/>
              <a:t>TOP 4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0EECE86-E7DD-4AF6-80F7-AD5A223E64F3}"/>
              </a:ext>
            </a:extLst>
          </p:cNvPr>
          <p:cNvGrpSpPr/>
          <p:nvPr userDrawn="1"/>
        </p:nvGrpSpPr>
        <p:grpSpPr>
          <a:xfrm>
            <a:off x="839788" y="6341047"/>
            <a:ext cx="2001155" cy="369332"/>
            <a:chOff x="574633" y="720339"/>
            <a:chExt cx="3188444" cy="588457"/>
          </a:xfrm>
          <a:noFill/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39904FD-ACA6-404B-AD3F-FF04357E01BB}"/>
                </a:ext>
              </a:extLst>
            </p:cNvPr>
            <p:cNvSpPr txBox="1"/>
            <p:nvPr/>
          </p:nvSpPr>
          <p:spPr>
            <a:xfrm>
              <a:off x="1806673" y="792655"/>
              <a:ext cx="1956404" cy="49038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GB" sz="700">
                  <a:solidFill>
                    <a:schemeClr val="bg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Medium" charset="0"/>
                  <a:ea typeface="Franklin Gothic Medium" charset="0"/>
                  <a:cs typeface="Franklin Gothic Medium" charset="0"/>
                </a:rPr>
                <a:t>Students’ Association for Data Analytics &amp; Statistic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F4EB27E-7228-48A5-A85E-5FB3D12169F6}"/>
                </a:ext>
              </a:extLst>
            </p:cNvPr>
            <p:cNvSpPr txBox="1"/>
            <p:nvPr/>
          </p:nvSpPr>
          <p:spPr>
            <a:xfrm>
              <a:off x="574633" y="720339"/>
              <a:ext cx="1980536" cy="58845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de-DE">
                  <a:solidFill>
                    <a:schemeClr val="bg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Demi" charset="0"/>
                  <a:ea typeface="Franklin Gothic Demi" charset="0"/>
                  <a:cs typeface="Franklin Gothic Demi" charset="0"/>
                </a:rPr>
                <a:t>STADS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1B5A2D5B-CCCB-4A63-AABE-7DA84DBC30C7}"/>
                </a:ext>
              </a:extLst>
            </p:cNvPr>
            <p:cNvCxnSpPr/>
            <p:nvPr/>
          </p:nvCxnSpPr>
          <p:spPr>
            <a:xfrm>
              <a:off x="1869238" y="868979"/>
              <a:ext cx="0" cy="337418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Freeform 1079">
            <a:extLst>
              <a:ext uri="{FF2B5EF4-FFF2-40B4-BE49-F238E27FC236}">
                <a16:creationId xmlns:a16="http://schemas.microsoft.com/office/drawing/2014/main" id="{71DBD7B6-88D2-4E63-98AC-E9A7801A735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336439" y="2491361"/>
            <a:ext cx="319228" cy="319228"/>
          </a:xfrm>
          <a:custGeom>
            <a:avLst/>
            <a:gdLst>
              <a:gd name="T0" fmla="*/ 251 w 502"/>
              <a:gd name="T1" fmla="*/ 502 h 502"/>
              <a:gd name="T2" fmla="*/ 0 w 502"/>
              <a:gd name="T3" fmla="*/ 251 h 502"/>
              <a:gd name="T4" fmla="*/ 251 w 502"/>
              <a:gd name="T5" fmla="*/ 0 h 502"/>
              <a:gd name="T6" fmla="*/ 502 w 502"/>
              <a:gd name="T7" fmla="*/ 251 h 502"/>
              <a:gd name="T8" fmla="*/ 251 w 502"/>
              <a:gd name="T9" fmla="*/ 502 h 502"/>
              <a:gd name="T10" fmla="*/ 383 w 502"/>
              <a:gd name="T11" fmla="*/ 266 h 502"/>
              <a:gd name="T12" fmla="*/ 383 w 502"/>
              <a:gd name="T13" fmla="*/ 236 h 502"/>
              <a:gd name="T14" fmla="*/ 235 w 502"/>
              <a:gd name="T15" fmla="*/ 88 h 502"/>
              <a:gd name="T16" fmla="*/ 205 w 502"/>
              <a:gd name="T17" fmla="*/ 88 h 502"/>
              <a:gd name="T18" fmla="*/ 172 w 502"/>
              <a:gd name="T19" fmla="*/ 121 h 502"/>
              <a:gd name="T20" fmla="*/ 172 w 502"/>
              <a:gd name="T21" fmla="*/ 150 h 502"/>
              <a:gd name="T22" fmla="*/ 272 w 502"/>
              <a:gd name="T23" fmla="*/ 251 h 502"/>
              <a:gd name="T24" fmla="*/ 172 w 502"/>
              <a:gd name="T25" fmla="*/ 351 h 502"/>
              <a:gd name="T26" fmla="*/ 172 w 502"/>
              <a:gd name="T27" fmla="*/ 381 h 502"/>
              <a:gd name="T28" fmla="*/ 205 w 502"/>
              <a:gd name="T29" fmla="*/ 414 h 502"/>
              <a:gd name="T30" fmla="*/ 235 w 502"/>
              <a:gd name="T31" fmla="*/ 414 h 502"/>
              <a:gd name="T32" fmla="*/ 383 w 502"/>
              <a:gd name="T33" fmla="*/ 266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02" h="502">
                <a:moveTo>
                  <a:pt x="251" y="502"/>
                </a:moveTo>
                <a:cubicBezTo>
                  <a:pt x="113" y="502"/>
                  <a:pt x="0" y="389"/>
                  <a:pt x="0" y="251"/>
                </a:cubicBezTo>
                <a:cubicBezTo>
                  <a:pt x="0" y="112"/>
                  <a:pt x="113" y="0"/>
                  <a:pt x="251" y="0"/>
                </a:cubicBezTo>
                <a:cubicBezTo>
                  <a:pt x="390" y="0"/>
                  <a:pt x="502" y="112"/>
                  <a:pt x="502" y="251"/>
                </a:cubicBezTo>
                <a:cubicBezTo>
                  <a:pt x="502" y="389"/>
                  <a:pt x="390" y="502"/>
                  <a:pt x="251" y="502"/>
                </a:cubicBezTo>
                <a:close/>
                <a:moveTo>
                  <a:pt x="383" y="266"/>
                </a:moveTo>
                <a:cubicBezTo>
                  <a:pt x="391" y="257"/>
                  <a:pt x="391" y="244"/>
                  <a:pt x="383" y="236"/>
                </a:cubicBezTo>
                <a:cubicBezTo>
                  <a:pt x="235" y="88"/>
                  <a:pt x="235" y="88"/>
                  <a:pt x="235" y="88"/>
                </a:cubicBezTo>
                <a:cubicBezTo>
                  <a:pt x="226" y="80"/>
                  <a:pt x="213" y="80"/>
                  <a:pt x="205" y="88"/>
                </a:cubicBezTo>
                <a:cubicBezTo>
                  <a:pt x="172" y="121"/>
                  <a:pt x="172" y="121"/>
                  <a:pt x="172" y="121"/>
                </a:cubicBezTo>
                <a:cubicBezTo>
                  <a:pt x="164" y="129"/>
                  <a:pt x="164" y="142"/>
                  <a:pt x="172" y="150"/>
                </a:cubicBezTo>
                <a:cubicBezTo>
                  <a:pt x="272" y="251"/>
                  <a:pt x="272" y="251"/>
                  <a:pt x="272" y="251"/>
                </a:cubicBezTo>
                <a:cubicBezTo>
                  <a:pt x="172" y="351"/>
                  <a:pt x="172" y="351"/>
                  <a:pt x="172" y="351"/>
                </a:cubicBezTo>
                <a:cubicBezTo>
                  <a:pt x="164" y="359"/>
                  <a:pt x="164" y="372"/>
                  <a:pt x="172" y="381"/>
                </a:cubicBezTo>
                <a:cubicBezTo>
                  <a:pt x="205" y="414"/>
                  <a:pt x="205" y="414"/>
                  <a:pt x="205" y="414"/>
                </a:cubicBezTo>
                <a:cubicBezTo>
                  <a:pt x="213" y="422"/>
                  <a:pt x="226" y="422"/>
                  <a:pt x="235" y="414"/>
                </a:cubicBezTo>
                <a:lnTo>
                  <a:pt x="383" y="26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D7F4C3E3-50AC-43C8-8A02-B9D071CE3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2382" y="2169000"/>
            <a:ext cx="2880000" cy="2520000"/>
          </a:xfrm>
          <a:prstGeom prst="rect">
            <a:avLst/>
          </a:prstGeom>
          <a:noFill/>
        </p:spPr>
        <p:txBody>
          <a:bodyPr vert="horz" lIns="0" tIns="36000" rIns="0" bIns="36000" rtlCol="0" anchor="ctr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389241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2_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698AAF-8523-4EA4-87ED-7CF3B22716D1}"/>
              </a:ext>
            </a:extLst>
          </p:cNvPr>
          <p:cNvSpPr/>
          <p:nvPr userDrawn="1"/>
        </p:nvSpPr>
        <p:spPr>
          <a:xfrm>
            <a:off x="1" y="0"/>
            <a:ext cx="3976575" cy="685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rgbClr val="1F3965"/>
              </a:gs>
              <a:gs pos="80000">
                <a:srgbClr val="5177B9"/>
              </a:gs>
              <a:gs pos="44000">
                <a:srgbClr val="31599E"/>
              </a:gs>
              <a:gs pos="100000">
                <a:srgbClr val="7094D3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3600" rIns="90000"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1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0EECE86-E7DD-4AF6-80F7-AD5A223E64F3}"/>
              </a:ext>
            </a:extLst>
          </p:cNvPr>
          <p:cNvGrpSpPr/>
          <p:nvPr userDrawn="1"/>
        </p:nvGrpSpPr>
        <p:grpSpPr>
          <a:xfrm>
            <a:off x="839788" y="6341047"/>
            <a:ext cx="2001155" cy="369332"/>
            <a:chOff x="574633" y="720339"/>
            <a:chExt cx="3188444" cy="588457"/>
          </a:xfrm>
          <a:noFill/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39904FD-ACA6-404B-AD3F-FF04357E01BB}"/>
                </a:ext>
              </a:extLst>
            </p:cNvPr>
            <p:cNvSpPr txBox="1"/>
            <p:nvPr/>
          </p:nvSpPr>
          <p:spPr>
            <a:xfrm>
              <a:off x="1806673" y="792655"/>
              <a:ext cx="1956404" cy="49038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GB" sz="700">
                  <a:solidFill>
                    <a:schemeClr val="bg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Medium" charset="0"/>
                  <a:ea typeface="Franklin Gothic Medium" charset="0"/>
                  <a:cs typeface="Franklin Gothic Medium" charset="0"/>
                </a:rPr>
                <a:t>Students’ Association for Data Analytics &amp; Statistic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F4EB27E-7228-48A5-A85E-5FB3D12169F6}"/>
                </a:ext>
              </a:extLst>
            </p:cNvPr>
            <p:cNvSpPr txBox="1"/>
            <p:nvPr/>
          </p:nvSpPr>
          <p:spPr>
            <a:xfrm>
              <a:off x="574633" y="720339"/>
              <a:ext cx="1980536" cy="58845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de-DE">
                  <a:solidFill>
                    <a:schemeClr val="bg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Demi" charset="0"/>
                  <a:ea typeface="Franklin Gothic Demi" charset="0"/>
                  <a:cs typeface="Franklin Gothic Demi" charset="0"/>
                </a:rPr>
                <a:t>STADS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1B5A2D5B-CCCB-4A63-AABE-7DA84DBC30C7}"/>
                </a:ext>
              </a:extLst>
            </p:cNvPr>
            <p:cNvCxnSpPr/>
            <p:nvPr/>
          </p:nvCxnSpPr>
          <p:spPr>
            <a:xfrm>
              <a:off x="1869238" y="868979"/>
              <a:ext cx="0" cy="337418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AE47188-F752-443A-9545-C35EC5089C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6363" y="2496123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de-DE"/>
              <a:t>TOP 1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2D1C780-A974-4633-AC4C-2C967F237E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16363" y="3014882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OP 2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87BA7452-618A-4334-8CB9-FCBDC80A21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6363" y="3533641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de-DE"/>
              <a:t>TOP 3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F4DB1780-46CC-469E-A7AF-CC72762728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16363" y="4052400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de-DE"/>
              <a:t>TOP 4</a:t>
            </a:r>
          </a:p>
        </p:txBody>
      </p:sp>
      <p:sp>
        <p:nvSpPr>
          <p:cNvPr id="19" name="Freeform 1079">
            <a:extLst>
              <a:ext uri="{FF2B5EF4-FFF2-40B4-BE49-F238E27FC236}">
                <a16:creationId xmlns:a16="http://schemas.microsoft.com/office/drawing/2014/main" id="{8269BC20-D0F2-433E-BFBC-3E98A92F47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336439" y="3008438"/>
            <a:ext cx="319228" cy="319228"/>
          </a:xfrm>
          <a:custGeom>
            <a:avLst/>
            <a:gdLst>
              <a:gd name="T0" fmla="*/ 251 w 502"/>
              <a:gd name="T1" fmla="*/ 502 h 502"/>
              <a:gd name="T2" fmla="*/ 0 w 502"/>
              <a:gd name="T3" fmla="*/ 251 h 502"/>
              <a:gd name="T4" fmla="*/ 251 w 502"/>
              <a:gd name="T5" fmla="*/ 0 h 502"/>
              <a:gd name="T6" fmla="*/ 502 w 502"/>
              <a:gd name="T7" fmla="*/ 251 h 502"/>
              <a:gd name="T8" fmla="*/ 251 w 502"/>
              <a:gd name="T9" fmla="*/ 502 h 502"/>
              <a:gd name="T10" fmla="*/ 383 w 502"/>
              <a:gd name="T11" fmla="*/ 266 h 502"/>
              <a:gd name="T12" fmla="*/ 383 w 502"/>
              <a:gd name="T13" fmla="*/ 236 h 502"/>
              <a:gd name="T14" fmla="*/ 235 w 502"/>
              <a:gd name="T15" fmla="*/ 88 h 502"/>
              <a:gd name="T16" fmla="*/ 205 w 502"/>
              <a:gd name="T17" fmla="*/ 88 h 502"/>
              <a:gd name="T18" fmla="*/ 172 w 502"/>
              <a:gd name="T19" fmla="*/ 121 h 502"/>
              <a:gd name="T20" fmla="*/ 172 w 502"/>
              <a:gd name="T21" fmla="*/ 150 h 502"/>
              <a:gd name="T22" fmla="*/ 272 w 502"/>
              <a:gd name="T23" fmla="*/ 251 h 502"/>
              <a:gd name="T24" fmla="*/ 172 w 502"/>
              <a:gd name="T25" fmla="*/ 351 h 502"/>
              <a:gd name="T26" fmla="*/ 172 w 502"/>
              <a:gd name="T27" fmla="*/ 381 h 502"/>
              <a:gd name="T28" fmla="*/ 205 w 502"/>
              <a:gd name="T29" fmla="*/ 414 h 502"/>
              <a:gd name="T30" fmla="*/ 235 w 502"/>
              <a:gd name="T31" fmla="*/ 414 h 502"/>
              <a:gd name="T32" fmla="*/ 383 w 502"/>
              <a:gd name="T33" fmla="*/ 266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02" h="502">
                <a:moveTo>
                  <a:pt x="251" y="502"/>
                </a:moveTo>
                <a:cubicBezTo>
                  <a:pt x="113" y="502"/>
                  <a:pt x="0" y="389"/>
                  <a:pt x="0" y="251"/>
                </a:cubicBezTo>
                <a:cubicBezTo>
                  <a:pt x="0" y="112"/>
                  <a:pt x="113" y="0"/>
                  <a:pt x="251" y="0"/>
                </a:cubicBezTo>
                <a:cubicBezTo>
                  <a:pt x="390" y="0"/>
                  <a:pt x="502" y="112"/>
                  <a:pt x="502" y="251"/>
                </a:cubicBezTo>
                <a:cubicBezTo>
                  <a:pt x="502" y="389"/>
                  <a:pt x="390" y="502"/>
                  <a:pt x="251" y="502"/>
                </a:cubicBezTo>
                <a:close/>
                <a:moveTo>
                  <a:pt x="383" y="266"/>
                </a:moveTo>
                <a:cubicBezTo>
                  <a:pt x="391" y="257"/>
                  <a:pt x="391" y="244"/>
                  <a:pt x="383" y="236"/>
                </a:cubicBezTo>
                <a:cubicBezTo>
                  <a:pt x="235" y="88"/>
                  <a:pt x="235" y="88"/>
                  <a:pt x="235" y="88"/>
                </a:cubicBezTo>
                <a:cubicBezTo>
                  <a:pt x="226" y="80"/>
                  <a:pt x="213" y="80"/>
                  <a:pt x="205" y="88"/>
                </a:cubicBezTo>
                <a:cubicBezTo>
                  <a:pt x="172" y="121"/>
                  <a:pt x="172" y="121"/>
                  <a:pt x="172" y="121"/>
                </a:cubicBezTo>
                <a:cubicBezTo>
                  <a:pt x="164" y="129"/>
                  <a:pt x="164" y="142"/>
                  <a:pt x="172" y="150"/>
                </a:cubicBezTo>
                <a:cubicBezTo>
                  <a:pt x="272" y="251"/>
                  <a:pt x="272" y="251"/>
                  <a:pt x="272" y="251"/>
                </a:cubicBezTo>
                <a:cubicBezTo>
                  <a:pt x="172" y="351"/>
                  <a:pt x="172" y="351"/>
                  <a:pt x="172" y="351"/>
                </a:cubicBezTo>
                <a:cubicBezTo>
                  <a:pt x="164" y="359"/>
                  <a:pt x="164" y="372"/>
                  <a:pt x="172" y="381"/>
                </a:cubicBezTo>
                <a:cubicBezTo>
                  <a:pt x="205" y="414"/>
                  <a:pt x="205" y="414"/>
                  <a:pt x="205" y="414"/>
                </a:cubicBezTo>
                <a:cubicBezTo>
                  <a:pt x="213" y="422"/>
                  <a:pt x="226" y="422"/>
                  <a:pt x="235" y="414"/>
                </a:cubicBezTo>
                <a:lnTo>
                  <a:pt x="383" y="26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01887690-3EF8-49BD-B07A-498C5B8331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2382" y="2169000"/>
            <a:ext cx="2880000" cy="2520000"/>
          </a:xfrm>
          <a:prstGeom prst="rect">
            <a:avLst/>
          </a:prstGeom>
          <a:noFill/>
        </p:spPr>
        <p:txBody>
          <a:bodyPr vert="horz" lIns="0" tIns="36000" rIns="0" bIns="36000" rtlCol="0" anchor="ctr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950083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2_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698AAF-8523-4EA4-87ED-7CF3B22716D1}"/>
              </a:ext>
            </a:extLst>
          </p:cNvPr>
          <p:cNvSpPr/>
          <p:nvPr userDrawn="1"/>
        </p:nvSpPr>
        <p:spPr>
          <a:xfrm>
            <a:off x="1" y="0"/>
            <a:ext cx="3976575" cy="685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rgbClr val="1F3965"/>
              </a:gs>
              <a:gs pos="80000">
                <a:srgbClr val="5177B9"/>
              </a:gs>
              <a:gs pos="44000">
                <a:srgbClr val="31599E"/>
              </a:gs>
              <a:gs pos="100000">
                <a:srgbClr val="7094D3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3600" rIns="90000"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1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DD6A849-E184-4A3F-8618-5304712F51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6363" y="2496123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de-DE"/>
              <a:t>TOP 1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ABEB200-51F4-4B32-9C5B-EB74BBFCDC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16363" y="3014882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de-DE"/>
              <a:t>TOP 2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EF3C2BB-A586-4B17-AB1C-66F1016166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6363" y="3533641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OP 3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4F58F6D-5153-4A9F-942B-ABB91607B0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16363" y="4052400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de-DE"/>
              <a:t>TOP 4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0EECE86-E7DD-4AF6-80F7-AD5A223E64F3}"/>
              </a:ext>
            </a:extLst>
          </p:cNvPr>
          <p:cNvGrpSpPr/>
          <p:nvPr userDrawn="1"/>
        </p:nvGrpSpPr>
        <p:grpSpPr>
          <a:xfrm>
            <a:off x="839788" y="6341047"/>
            <a:ext cx="2001155" cy="369332"/>
            <a:chOff x="574633" y="720339"/>
            <a:chExt cx="3188444" cy="588457"/>
          </a:xfrm>
          <a:noFill/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39904FD-ACA6-404B-AD3F-FF04357E01BB}"/>
                </a:ext>
              </a:extLst>
            </p:cNvPr>
            <p:cNvSpPr txBox="1"/>
            <p:nvPr/>
          </p:nvSpPr>
          <p:spPr>
            <a:xfrm>
              <a:off x="1806673" y="792655"/>
              <a:ext cx="1956404" cy="49038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GB" sz="700">
                  <a:solidFill>
                    <a:schemeClr val="bg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Medium" charset="0"/>
                  <a:ea typeface="Franklin Gothic Medium" charset="0"/>
                  <a:cs typeface="Franklin Gothic Medium" charset="0"/>
                </a:rPr>
                <a:t>Students’ Association for Data Analytics &amp; Statistic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F4EB27E-7228-48A5-A85E-5FB3D12169F6}"/>
                </a:ext>
              </a:extLst>
            </p:cNvPr>
            <p:cNvSpPr txBox="1"/>
            <p:nvPr/>
          </p:nvSpPr>
          <p:spPr>
            <a:xfrm>
              <a:off x="574633" y="720339"/>
              <a:ext cx="1980536" cy="58845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de-DE">
                  <a:solidFill>
                    <a:schemeClr val="bg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Demi" charset="0"/>
                  <a:ea typeface="Franklin Gothic Demi" charset="0"/>
                  <a:cs typeface="Franklin Gothic Demi" charset="0"/>
                </a:rPr>
                <a:t>STADS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1B5A2D5B-CCCB-4A63-AABE-7DA84DBC30C7}"/>
                </a:ext>
              </a:extLst>
            </p:cNvPr>
            <p:cNvCxnSpPr/>
            <p:nvPr/>
          </p:nvCxnSpPr>
          <p:spPr>
            <a:xfrm>
              <a:off x="1869238" y="868979"/>
              <a:ext cx="0" cy="337418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Freeform 1079">
            <a:extLst>
              <a:ext uri="{FF2B5EF4-FFF2-40B4-BE49-F238E27FC236}">
                <a16:creationId xmlns:a16="http://schemas.microsoft.com/office/drawing/2014/main" id="{B3F5073E-FB9C-4F8C-B05D-F48F2DC3E0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336439" y="3526021"/>
            <a:ext cx="319228" cy="319228"/>
          </a:xfrm>
          <a:custGeom>
            <a:avLst/>
            <a:gdLst>
              <a:gd name="T0" fmla="*/ 251 w 502"/>
              <a:gd name="T1" fmla="*/ 502 h 502"/>
              <a:gd name="T2" fmla="*/ 0 w 502"/>
              <a:gd name="T3" fmla="*/ 251 h 502"/>
              <a:gd name="T4" fmla="*/ 251 w 502"/>
              <a:gd name="T5" fmla="*/ 0 h 502"/>
              <a:gd name="T6" fmla="*/ 502 w 502"/>
              <a:gd name="T7" fmla="*/ 251 h 502"/>
              <a:gd name="T8" fmla="*/ 251 w 502"/>
              <a:gd name="T9" fmla="*/ 502 h 502"/>
              <a:gd name="T10" fmla="*/ 383 w 502"/>
              <a:gd name="T11" fmla="*/ 266 h 502"/>
              <a:gd name="T12" fmla="*/ 383 w 502"/>
              <a:gd name="T13" fmla="*/ 236 h 502"/>
              <a:gd name="T14" fmla="*/ 235 w 502"/>
              <a:gd name="T15" fmla="*/ 88 h 502"/>
              <a:gd name="T16" fmla="*/ 205 w 502"/>
              <a:gd name="T17" fmla="*/ 88 h 502"/>
              <a:gd name="T18" fmla="*/ 172 w 502"/>
              <a:gd name="T19" fmla="*/ 121 h 502"/>
              <a:gd name="T20" fmla="*/ 172 w 502"/>
              <a:gd name="T21" fmla="*/ 150 h 502"/>
              <a:gd name="T22" fmla="*/ 272 w 502"/>
              <a:gd name="T23" fmla="*/ 251 h 502"/>
              <a:gd name="T24" fmla="*/ 172 w 502"/>
              <a:gd name="T25" fmla="*/ 351 h 502"/>
              <a:gd name="T26" fmla="*/ 172 w 502"/>
              <a:gd name="T27" fmla="*/ 381 h 502"/>
              <a:gd name="T28" fmla="*/ 205 w 502"/>
              <a:gd name="T29" fmla="*/ 414 h 502"/>
              <a:gd name="T30" fmla="*/ 235 w 502"/>
              <a:gd name="T31" fmla="*/ 414 h 502"/>
              <a:gd name="T32" fmla="*/ 383 w 502"/>
              <a:gd name="T33" fmla="*/ 266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02" h="502">
                <a:moveTo>
                  <a:pt x="251" y="502"/>
                </a:moveTo>
                <a:cubicBezTo>
                  <a:pt x="113" y="502"/>
                  <a:pt x="0" y="389"/>
                  <a:pt x="0" y="251"/>
                </a:cubicBezTo>
                <a:cubicBezTo>
                  <a:pt x="0" y="112"/>
                  <a:pt x="113" y="0"/>
                  <a:pt x="251" y="0"/>
                </a:cubicBezTo>
                <a:cubicBezTo>
                  <a:pt x="390" y="0"/>
                  <a:pt x="502" y="112"/>
                  <a:pt x="502" y="251"/>
                </a:cubicBezTo>
                <a:cubicBezTo>
                  <a:pt x="502" y="389"/>
                  <a:pt x="390" y="502"/>
                  <a:pt x="251" y="502"/>
                </a:cubicBezTo>
                <a:close/>
                <a:moveTo>
                  <a:pt x="383" y="266"/>
                </a:moveTo>
                <a:cubicBezTo>
                  <a:pt x="391" y="257"/>
                  <a:pt x="391" y="244"/>
                  <a:pt x="383" y="236"/>
                </a:cubicBezTo>
                <a:cubicBezTo>
                  <a:pt x="235" y="88"/>
                  <a:pt x="235" y="88"/>
                  <a:pt x="235" y="88"/>
                </a:cubicBezTo>
                <a:cubicBezTo>
                  <a:pt x="226" y="80"/>
                  <a:pt x="213" y="80"/>
                  <a:pt x="205" y="88"/>
                </a:cubicBezTo>
                <a:cubicBezTo>
                  <a:pt x="172" y="121"/>
                  <a:pt x="172" y="121"/>
                  <a:pt x="172" y="121"/>
                </a:cubicBezTo>
                <a:cubicBezTo>
                  <a:pt x="164" y="129"/>
                  <a:pt x="164" y="142"/>
                  <a:pt x="172" y="150"/>
                </a:cubicBezTo>
                <a:cubicBezTo>
                  <a:pt x="272" y="251"/>
                  <a:pt x="272" y="251"/>
                  <a:pt x="272" y="251"/>
                </a:cubicBezTo>
                <a:cubicBezTo>
                  <a:pt x="172" y="351"/>
                  <a:pt x="172" y="351"/>
                  <a:pt x="172" y="351"/>
                </a:cubicBezTo>
                <a:cubicBezTo>
                  <a:pt x="164" y="359"/>
                  <a:pt x="164" y="372"/>
                  <a:pt x="172" y="381"/>
                </a:cubicBezTo>
                <a:cubicBezTo>
                  <a:pt x="205" y="414"/>
                  <a:pt x="205" y="414"/>
                  <a:pt x="205" y="414"/>
                </a:cubicBezTo>
                <a:cubicBezTo>
                  <a:pt x="213" y="422"/>
                  <a:pt x="226" y="422"/>
                  <a:pt x="235" y="414"/>
                </a:cubicBezTo>
                <a:lnTo>
                  <a:pt x="383" y="26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90A65BAA-4E21-4A70-9230-D60AD46D10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2382" y="2169000"/>
            <a:ext cx="2880000" cy="2520000"/>
          </a:xfrm>
          <a:prstGeom prst="rect">
            <a:avLst/>
          </a:prstGeom>
          <a:noFill/>
        </p:spPr>
        <p:txBody>
          <a:bodyPr vert="horz" lIns="0" tIns="36000" rIns="0" bIns="36000" rtlCol="0" anchor="ctr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44314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Divider"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0">
              <a:srgbClr val="1F3965"/>
            </a:gs>
            <a:gs pos="57000">
              <a:srgbClr val="31599E"/>
            </a:gs>
            <a:gs pos="100000">
              <a:srgbClr val="7094D3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4550" y="2730674"/>
            <a:ext cx="10507663" cy="1831801"/>
          </a:xfrm>
          <a:prstGeom prst="rect">
            <a:avLst/>
          </a:prstGeo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err="1"/>
              <a:t>Kapiteltrenner</a:t>
            </a:r>
            <a:r>
              <a:rPr lang="en-US"/>
              <a:t> – </a:t>
            </a:r>
            <a:r>
              <a:rPr lang="en-US" err="1"/>
              <a:t>Tite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44550" y="4564063"/>
            <a:ext cx="10507663" cy="1500187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err="1"/>
              <a:t>Untertit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44550" y="701544"/>
            <a:ext cx="4295775" cy="2029129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FontTx/>
              <a:buNone/>
              <a:defRPr sz="13800">
                <a:solidFill>
                  <a:schemeClr val="bg1"/>
                </a:solidFill>
                <a:latin typeface="Franklin Gothic Heavy" charset="0"/>
                <a:ea typeface="Franklin Gothic Heavy" charset="0"/>
                <a:cs typeface="Franklin Gothic Heavy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de-DE"/>
              <a:t>#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598671-5F1C-AA9E-2D98-32DB735E62D0}"/>
              </a:ext>
            </a:extLst>
          </p:cNvPr>
          <p:cNvSpPr txBox="1"/>
          <p:nvPr userDrawn="1"/>
        </p:nvSpPr>
        <p:spPr>
          <a:xfrm>
            <a:off x="803787" y="6493917"/>
            <a:ext cx="44995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1" dirty="0">
                <a:solidFill>
                  <a:schemeClr val="bg1"/>
                </a:solidFill>
                <a:latin typeface="+mn-lt"/>
              </a:rPr>
              <a:t>Bachelor Thesis Paul Burkhardt</a:t>
            </a:r>
            <a:endParaRPr lang="en-US" sz="11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05F124-BF16-8D08-BA79-330FA56392F2}"/>
              </a:ext>
            </a:extLst>
          </p:cNvPr>
          <p:cNvSpPr txBox="1"/>
          <p:nvPr userDrawn="1"/>
        </p:nvSpPr>
        <p:spPr>
          <a:xfrm>
            <a:off x="4941039" y="6493917"/>
            <a:ext cx="24503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1" dirty="0">
                <a:solidFill>
                  <a:schemeClr val="bg1"/>
                </a:solidFill>
                <a:latin typeface="+mn-lt"/>
              </a:rPr>
              <a:t>Prof Dr. </a:t>
            </a:r>
            <a:r>
              <a:rPr lang="de-DE" sz="1100" b="1" dirty="0" err="1">
                <a:solidFill>
                  <a:schemeClr val="bg1"/>
                </a:solidFill>
                <a:latin typeface="+mn-lt"/>
              </a:rPr>
              <a:t>Bizer</a:t>
            </a:r>
            <a:r>
              <a:rPr lang="de-DE" sz="1100" b="1" dirty="0">
                <a:solidFill>
                  <a:schemeClr val="bg1"/>
                </a:solidFill>
                <a:latin typeface="+mn-lt"/>
              </a:rPr>
              <a:t> | Ralph Peeters</a:t>
            </a:r>
            <a:endParaRPr lang="en-US" sz="11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Slide Number Placeholder 18">
            <a:extLst>
              <a:ext uri="{FF2B5EF4-FFF2-40B4-BE49-F238E27FC236}">
                <a16:creationId xmlns:a16="http://schemas.microsoft.com/office/drawing/2014/main" id="{7032FAA9-8FDD-7956-D10C-9766CF520A04}"/>
              </a:ext>
            </a:extLst>
          </p:cNvPr>
          <p:cNvSpPr txBox="1">
            <a:spLocks/>
          </p:cNvSpPr>
          <p:nvPr userDrawn="1"/>
        </p:nvSpPr>
        <p:spPr>
          <a:xfrm>
            <a:off x="11016402" y="6432158"/>
            <a:ext cx="476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lang="de-DE" sz="1100" b="1" kern="120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A5C334-A66F-BE4B-8043-072F869F08CC}" type="slidenum">
              <a:rPr lang="uk-UA" smtClean="0">
                <a:solidFill>
                  <a:schemeClr val="bg1"/>
                </a:solidFill>
              </a:rPr>
              <a:pPr/>
              <a:t>‹#›</a:t>
            </a:fld>
            <a:endParaRPr lang="uk-UA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74B391-DC46-3040-D494-69ED1C31A57C}"/>
              </a:ext>
            </a:extLst>
          </p:cNvPr>
          <p:cNvSpPr txBox="1"/>
          <p:nvPr userDrawn="1"/>
        </p:nvSpPr>
        <p:spPr>
          <a:xfrm>
            <a:off x="7688663" y="6493917"/>
            <a:ext cx="33999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GB" sz="1100" b="1" i="0" u="none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hair of Information Systems V: Web-based Systems</a:t>
            </a:r>
            <a:endParaRPr lang="en-US" sz="1100" b="1" i="0" u="none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04573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2_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698AAF-8523-4EA4-87ED-7CF3B22716D1}"/>
              </a:ext>
            </a:extLst>
          </p:cNvPr>
          <p:cNvSpPr/>
          <p:nvPr userDrawn="1"/>
        </p:nvSpPr>
        <p:spPr>
          <a:xfrm>
            <a:off x="1" y="0"/>
            <a:ext cx="3976575" cy="685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rgbClr val="1F3965"/>
              </a:gs>
              <a:gs pos="80000">
                <a:srgbClr val="5177B9"/>
              </a:gs>
              <a:gs pos="44000">
                <a:srgbClr val="31599E"/>
              </a:gs>
              <a:gs pos="100000">
                <a:srgbClr val="7094D3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3600" rIns="90000"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1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DD6A849-E184-4A3F-8618-5304712F51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6363" y="2496123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de-DE"/>
              <a:t>TOP 1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ABEB200-51F4-4B32-9C5B-EB74BBFCDC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16363" y="3014882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de-DE"/>
              <a:t>TOP 2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EF3C2BB-A586-4B17-AB1C-66F1016166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6363" y="3533641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de-DE"/>
              <a:t>TOP 3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4F58F6D-5153-4A9F-942B-ABB91607B0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16363" y="4052400"/>
            <a:ext cx="6535850" cy="31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OP 4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0EECE86-E7DD-4AF6-80F7-AD5A223E64F3}"/>
              </a:ext>
            </a:extLst>
          </p:cNvPr>
          <p:cNvGrpSpPr/>
          <p:nvPr userDrawn="1"/>
        </p:nvGrpSpPr>
        <p:grpSpPr>
          <a:xfrm>
            <a:off x="839788" y="6341047"/>
            <a:ext cx="2001155" cy="369332"/>
            <a:chOff x="574633" y="720339"/>
            <a:chExt cx="3188444" cy="588457"/>
          </a:xfrm>
          <a:noFill/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39904FD-ACA6-404B-AD3F-FF04357E01BB}"/>
                </a:ext>
              </a:extLst>
            </p:cNvPr>
            <p:cNvSpPr txBox="1"/>
            <p:nvPr/>
          </p:nvSpPr>
          <p:spPr>
            <a:xfrm>
              <a:off x="1806673" y="792655"/>
              <a:ext cx="1956404" cy="49038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GB" sz="700">
                  <a:solidFill>
                    <a:schemeClr val="bg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Medium" charset="0"/>
                  <a:ea typeface="Franklin Gothic Medium" charset="0"/>
                  <a:cs typeface="Franklin Gothic Medium" charset="0"/>
                </a:rPr>
                <a:t>Students’ Association for Data Analytics &amp; Statistic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F4EB27E-7228-48A5-A85E-5FB3D12169F6}"/>
                </a:ext>
              </a:extLst>
            </p:cNvPr>
            <p:cNvSpPr txBox="1"/>
            <p:nvPr/>
          </p:nvSpPr>
          <p:spPr>
            <a:xfrm>
              <a:off x="574633" y="720339"/>
              <a:ext cx="1980536" cy="58845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de-DE">
                  <a:solidFill>
                    <a:schemeClr val="bg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Demi" charset="0"/>
                  <a:ea typeface="Franklin Gothic Demi" charset="0"/>
                  <a:cs typeface="Franklin Gothic Demi" charset="0"/>
                </a:rPr>
                <a:t>STADS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1B5A2D5B-CCCB-4A63-AABE-7DA84DBC30C7}"/>
                </a:ext>
              </a:extLst>
            </p:cNvPr>
            <p:cNvCxnSpPr/>
            <p:nvPr/>
          </p:nvCxnSpPr>
          <p:spPr>
            <a:xfrm>
              <a:off x="1869238" y="868979"/>
              <a:ext cx="0" cy="337418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Freeform 1079">
            <a:extLst>
              <a:ext uri="{FF2B5EF4-FFF2-40B4-BE49-F238E27FC236}">
                <a16:creationId xmlns:a16="http://schemas.microsoft.com/office/drawing/2014/main" id="{B3F5073E-FB9C-4F8C-B05D-F48F2DC3E0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336439" y="4044780"/>
            <a:ext cx="319228" cy="319228"/>
          </a:xfrm>
          <a:custGeom>
            <a:avLst/>
            <a:gdLst>
              <a:gd name="T0" fmla="*/ 251 w 502"/>
              <a:gd name="T1" fmla="*/ 502 h 502"/>
              <a:gd name="T2" fmla="*/ 0 w 502"/>
              <a:gd name="T3" fmla="*/ 251 h 502"/>
              <a:gd name="T4" fmla="*/ 251 w 502"/>
              <a:gd name="T5" fmla="*/ 0 h 502"/>
              <a:gd name="T6" fmla="*/ 502 w 502"/>
              <a:gd name="T7" fmla="*/ 251 h 502"/>
              <a:gd name="T8" fmla="*/ 251 w 502"/>
              <a:gd name="T9" fmla="*/ 502 h 502"/>
              <a:gd name="T10" fmla="*/ 383 w 502"/>
              <a:gd name="T11" fmla="*/ 266 h 502"/>
              <a:gd name="T12" fmla="*/ 383 w 502"/>
              <a:gd name="T13" fmla="*/ 236 h 502"/>
              <a:gd name="T14" fmla="*/ 235 w 502"/>
              <a:gd name="T15" fmla="*/ 88 h 502"/>
              <a:gd name="T16" fmla="*/ 205 w 502"/>
              <a:gd name="T17" fmla="*/ 88 h 502"/>
              <a:gd name="T18" fmla="*/ 172 w 502"/>
              <a:gd name="T19" fmla="*/ 121 h 502"/>
              <a:gd name="T20" fmla="*/ 172 w 502"/>
              <a:gd name="T21" fmla="*/ 150 h 502"/>
              <a:gd name="T22" fmla="*/ 272 w 502"/>
              <a:gd name="T23" fmla="*/ 251 h 502"/>
              <a:gd name="T24" fmla="*/ 172 w 502"/>
              <a:gd name="T25" fmla="*/ 351 h 502"/>
              <a:gd name="T26" fmla="*/ 172 w 502"/>
              <a:gd name="T27" fmla="*/ 381 h 502"/>
              <a:gd name="T28" fmla="*/ 205 w 502"/>
              <a:gd name="T29" fmla="*/ 414 h 502"/>
              <a:gd name="T30" fmla="*/ 235 w 502"/>
              <a:gd name="T31" fmla="*/ 414 h 502"/>
              <a:gd name="T32" fmla="*/ 383 w 502"/>
              <a:gd name="T33" fmla="*/ 266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02" h="502">
                <a:moveTo>
                  <a:pt x="251" y="502"/>
                </a:moveTo>
                <a:cubicBezTo>
                  <a:pt x="113" y="502"/>
                  <a:pt x="0" y="389"/>
                  <a:pt x="0" y="251"/>
                </a:cubicBezTo>
                <a:cubicBezTo>
                  <a:pt x="0" y="112"/>
                  <a:pt x="113" y="0"/>
                  <a:pt x="251" y="0"/>
                </a:cubicBezTo>
                <a:cubicBezTo>
                  <a:pt x="390" y="0"/>
                  <a:pt x="502" y="112"/>
                  <a:pt x="502" y="251"/>
                </a:cubicBezTo>
                <a:cubicBezTo>
                  <a:pt x="502" y="389"/>
                  <a:pt x="390" y="502"/>
                  <a:pt x="251" y="502"/>
                </a:cubicBezTo>
                <a:close/>
                <a:moveTo>
                  <a:pt x="383" y="266"/>
                </a:moveTo>
                <a:cubicBezTo>
                  <a:pt x="391" y="257"/>
                  <a:pt x="391" y="244"/>
                  <a:pt x="383" y="236"/>
                </a:cubicBezTo>
                <a:cubicBezTo>
                  <a:pt x="235" y="88"/>
                  <a:pt x="235" y="88"/>
                  <a:pt x="235" y="88"/>
                </a:cubicBezTo>
                <a:cubicBezTo>
                  <a:pt x="226" y="80"/>
                  <a:pt x="213" y="80"/>
                  <a:pt x="205" y="88"/>
                </a:cubicBezTo>
                <a:cubicBezTo>
                  <a:pt x="172" y="121"/>
                  <a:pt x="172" y="121"/>
                  <a:pt x="172" y="121"/>
                </a:cubicBezTo>
                <a:cubicBezTo>
                  <a:pt x="164" y="129"/>
                  <a:pt x="164" y="142"/>
                  <a:pt x="172" y="150"/>
                </a:cubicBezTo>
                <a:cubicBezTo>
                  <a:pt x="272" y="251"/>
                  <a:pt x="272" y="251"/>
                  <a:pt x="272" y="251"/>
                </a:cubicBezTo>
                <a:cubicBezTo>
                  <a:pt x="172" y="351"/>
                  <a:pt x="172" y="351"/>
                  <a:pt x="172" y="351"/>
                </a:cubicBezTo>
                <a:cubicBezTo>
                  <a:pt x="164" y="359"/>
                  <a:pt x="164" y="372"/>
                  <a:pt x="172" y="381"/>
                </a:cubicBezTo>
                <a:cubicBezTo>
                  <a:pt x="205" y="414"/>
                  <a:pt x="205" y="414"/>
                  <a:pt x="205" y="414"/>
                </a:cubicBezTo>
                <a:cubicBezTo>
                  <a:pt x="213" y="422"/>
                  <a:pt x="226" y="422"/>
                  <a:pt x="235" y="414"/>
                </a:cubicBezTo>
                <a:lnTo>
                  <a:pt x="383" y="26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8153A696-F3E1-4994-A672-FC5B74ABB1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2382" y="2169000"/>
            <a:ext cx="2880000" cy="2520000"/>
          </a:xfrm>
          <a:prstGeom prst="rect">
            <a:avLst/>
          </a:prstGeom>
          <a:noFill/>
        </p:spPr>
        <p:txBody>
          <a:bodyPr vert="horz" lIns="0" tIns="36000" rIns="0" bIns="36000" rtlCol="0" anchor="ctr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217931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2890D2-5FA1-4E1C-83EE-5DBA3C1FA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2187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A9B5AD-B924-C8E6-54EE-5F3B0A2026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083883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HL_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3302698F-2D25-467A-B9AD-381A81FB38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2380" y="478050"/>
            <a:ext cx="10511419" cy="610974"/>
          </a:xfrm>
          <a:prstGeom prst="rect">
            <a:avLst/>
          </a:prstGeom>
          <a:noFill/>
        </p:spPr>
        <p:txBody>
          <a:bodyPr vert="horz" lIns="0" tIns="36000" rIns="0" bIns="36000" rtlCol="0" anchor="t">
            <a:noAutofit/>
          </a:bodyPr>
          <a:lstStyle>
            <a:lvl1pPr>
              <a:defRPr lang="en-US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Einzeiliger</a:t>
            </a:r>
            <a:r>
              <a:rPr lang="en-US"/>
              <a:t> </a:t>
            </a:r>
            <a:r>
              <a:rPr lang="en-US" err="1"/>
              <a:t>Titel</a:t>
            </a:r>
            <a:r>
              <a:rPr lang="en-US"/>
              <a:t> plus Action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EA3FCEA-3E52-4990-8EBD-7DF5C2C30E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2491" y="1089024"/>
            <a:ext cx="10511308" cy="360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Ein- oder zweizeiliger Actiontitle, welcher die Aussage der Slide auf den Punkt bringt. Hier steht die Antwort auf die „So </a:t>
            </a:r>
            <a:r>
              <a:rPr kumimoji="0" lang="de-DE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What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?“-Frage (warum existiert diese Slide, was möchte sie mir sagen?).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AAB56FAF-27EA-477F-4FAF-6C42CCC1A0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962" y="179035"/>
            <a:ext cx="10510837" cy="28800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>
            <a:lvl1pPr marL="0" indent="0">
              <a:buFont typeface="Arial" panose="020B0604020202020204" pitchFamily="34" charset="0"/>
              <a:buNone/>
              <a:defRPr lang="en-US" sz="1400" cap="all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Franklin Gothic Medium" panose="020B0603020102020204" pitchFamily="34" charset="0"/>
                <a:ea typeface="Franklin Gothic Medium" panose="020B0603020102020204" pitchFamily="34" charset="0"/>
                <a:cs typeface="Franklin Gothic Medium" panose="020B0603020102020204" pitchFamily="34" charset="0"/>
              </a:defRPr>
            </a:lvl1pPr>
          </a:lstStyle>
          <a:p>
            <a:r>
              <a:rPr lang="en-GB" sz="1400" dirty="0">
                <a:effectLst/>
                <a:latin typeface="CMSSBX10"/>
              </a:rPr>
              <a:t>Evaluation of Chain-of-Thought Prompting on the Task of Entity Matching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7575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HL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3302698F-2D25-467A-B9AD-381A81FB38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2382" y="478050"/>
            <a:ext cx="10510837" cy="612000"/>
          </a:xfrm>
          <a:prstGeom prst="rect">
            <a:avLst/>
          </a:prstGeom>
          <a:noFill/>
        </p:spPr>
        <p:txBody>
          <a:bodyPr vert="horz" lIns="0" tIns="36000" rIns="0" bIns="36000" rtlCol="0" anchor="t">
            <a:noAutofit/>
          </a:bodyPr>
          <a:lstStyle>
            <a:lvl1pPr>
              <a:defRPr lang="en-US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Einzeiliger</a:t>
            </a:r>
            <a:r>
              <a:rPr lang="en-US"/>
              <a:t> </a:t>
            </a:r>
            <a:r>
              <a:rPr lang="en-US" err="1"/>
              <a:t>Titel</a:t>
            </a:r>
            <a:r>
              <a:rPr lang="en-US"/>
              <a:t> </a:t>
            </a:r>
            <a:r>
              <a:rPr lang="en-US" err="1"/>
              <a:t>ohne</a:t>
            </a:r>
            <a:r>
              <a:rPr lang="en-US"/>
              <a:t> Action Tit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474B6A29-AA31-462B-7934-2450B1A275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962" y="179035"/>
            <a:ext cx="10510837" cy="28800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>
            <a:lvl1pPr marL="0" indent="0">
              <a:buFont typeface="Arial" panose="020B0604020202020204" pitchFamily="34" charset="0"/>
              <a:buNone/>
              <a:defRPr lang="en-GB" sz="1400" kern="1200" cap="all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Franklin Gothic Medium" panose="020B0603020102020204" pitchFamily="34" charset="0"/>
                <a:cs typeface="Franklin Gothic Medium" panose="020B0603020102020204" pitchFamily="34" charset="0"/>
              </a:defRPr>
            </a:lvl1pPr>
          </a:lstStyle>
          <a:p>
            <a:r>
              <a:rPr lang="en-GB" sz="1400" dirty="0">
                <a:effectLst/>
                <a:latin typeface="CMSSBX10"/>
              </a:rPr>
              <a:t>Evaluation of Chain-of-Thought Prompting on the Task of Entity Matching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78694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HL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3302698F-2D25-467A-B9AD-381A81FB38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3369" y="478050"/>
            <a:ext cx="10510432" cy="971338"/>
          </a:xfrm>
          <a:prstGeom prst="rect">
            <a:avLst/>
          </a:prstGeom>
          <a:noFill/>
        </p:spPr>
        <p:txBody>
          <a:bodyPr vert="horz" lIns="0" tIns="36000" rIns="0" bIns="36000" rtlCol="0" anchor="t">
            <a:noAutofit/>
          </a:bodyPr>
          <a:lstStyle>
            <a:lvl1pPr>
              <a:defRPr lang="en-US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Zweizeiliger</a:t>
            </a:r>
            <a:r>
              <a:rPr lang="en-US"/>
              <a:t> </a:t>
            </a:r>
            <a:r>
              <a:rPr lang="en-US" err="1"/>
              <a:t>Titel</a:t>
            </a:r>
            <a:r>
              <a:rPr lang="en-US"/>
              <a:t> </a:t>
            </a:r>
            <a:r>
              <a:rPr lang="en-US" err="1"/>
              <a:t>ohne</a:t>
            </a:r>
            <a:r>
              <a:rPr lang="en-US"/>
              <a:t> Action Tit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5754C5E7-0C7F-1059-FFF0-63EE8EF787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962" y="179035"/>
            <a:ext cx="10510837" cy="28800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>
            <a:lvl1pPr marL="0" indent="0">
              <a:buFont typeface="Arial" panose="020B0604020202020204" pitchFamily="34" charset="0"/>
              <a:buNone/>
              <a:defRPr lang="en-US" sz="1400" cap="all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r>
              <a:rPr lang="en-GB" sz="1400" dirty="0">
                <a:effectLst/>
                <a:latin typeface="CMSSBX10"/>
              </a:rPr>
              <a:t>Evaluation of Chain-of-Thought Prompting on the Task of Entity Matching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08034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_2_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698AAF-8523-4EA4-87ED-7CF3B22716D1}"/>
              </a:ext>
            </a:extLst>
          </p:cNvPr>
          <p:cNvSpPr/>
          <p:nvPr userDrawn="1"/>
        </p:nvSpPr>
        <p:spPr>
          <a:xfrm>
            <a:off x="1" y="0"/>
            <a:ext cx="4140000" cy="685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rgbClr val="1F3965"/>
              </a:gs>
              <a:gs pos="80000">
                <a:srgbClr val="5177B9"/>
              </a:gs>
              <a:gs pos="44000">
                <a:srgbClr val="31599E"/>
              </a:gs>
              <a:gs pos="100000">
                <a:srgbClr val="7094D3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3600" rIns="90000"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1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0EECE86-E7DD-4AF6-80F7-AD5A223E64F3}"/>
              </a:ext>
            </a:extLst>
          </p:cNvPr>
          <p:cNvGrpSpPr/>
          <p:nvPr userDrawn="1"/>
        </p:nvGrpSpPr>
        <p:grpSpPr>
          <a:xfrm>
            <a:off x="839788" y="6341047"/>
            <a:ext cx="2001155" cy="369332"/>
            <a:chOff x="574633" y="720339"/>
            <a:chExt cx="3188444" cy="588457"/>
          </a:xfrm>
          <a:noFill/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39904FD-ACA6-404B-AD3F-FF04357E01BB}"/>
                </a:ext>
              </a:extLst>
            </p:cNvPr>
            <p:cNvSpPr txBox="1"/>
            <p:nvPr/>
          </p:nvSpPr>
          <p:spPr>
            <a:xfrm>
              <a:off x="1806673" y="792655"/>
              <a:ext cx="1956404" cy="49038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GB" sz="700">
                  <a:solidFill>
                    <a:schemeClr val="bg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Medium" charset="0"/>
                  <a:ea typeface="Franklin Gothic Medium" charset="0"/>
                  <a:cs typeface="Franklin Gothic Medium" charset="0"/>
                </a:rPr>
                <a:t>Students’ Association for Data Analytics &amp; Statistic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F4EB27E-7228-48A5-A85E-5FB3D12169F6}"/>
                </a:ext>
              </a:extLst>
            </p:cNvPr>
            <p:cNvSpPr txBox="1"/>
            <p:nvPr/>
          </p:nvSpPr>
          <p:spPr>
            <a:xfrm>
              <a:off x="574633" y="720339"/>
              <a:ext cx="1980536" cy="58845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de-DE">
                  <a:solidFill>
                    <a:schemeClr val="bg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Demi" charset="0"/>
                  <a:ea typeface="Franklin Gothic Demi" charset="0"/>
                  <a:cs typeface="Franklin Gothic Demi" charset="0"/>
                </a:rPr>
                <a:t>STADS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1B5A2D5B-CCCB-4A63-AABE-7DA84DBC30C7}"/>
                </a:ext>
              </a:extLst>
            </p:cNvPr>
            <p:cNvCxnSpPr/>
            <p:nvPr/>
          </p:nvCxnSpPr>
          <p:spPr>
            <a:xfrm>
              <a:off x="1869238" y="868979"/>
              <a:ext cx="0" cy="337418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Slide Number Placeholder 18">
            <a:extLst>
              <a:ext uri="{FF2B5EF4-FFF2-40B4-BE49-F238E27FC236}">
                <a16:creationId xmlns:a16="http://schemas.microsoft.com/office/drawing/2014/main" id="{4268B5E9-068D-4603-A35B-93CDD83316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75963" y="6424073"/>
            <a:ext cx="476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de-DE" sz="1100" b="1" smtClean="0">
                <a:latin typeface="Franklin Gothic Book" charset="0"/>
                <a:ea typeface="Franklin Gothic Book" charset="0"/>
                <a:cs typeface="Franklin Gothic Book" charset="0"/>
              </a:defRPr>
            </a:lvl1pPr>
          </a:lstStyle>
          <a:p>
            <a:fld id="{9DA5C334-A66F-BE4B-8043-072F869F08CC}" type="slidenum">
              <a:rPr lang="uk-UA" smtClean="0"/>
              <a:pPr/>
              <a:t>‹#›</a:t>
            </a:fld>
            <a:endParaRPr lang="uk-UA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7D53C0C-A63D-4818-BA41-0DE904B1E2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2382" y="2169000"/>
            <a:ext cx="2880000" cy="2520000"/>
          </a:xfrm>
          <a:prstGeom prst="rect">
            <a:avLst/>
          </a:prstGeom>
          <a:noFill/>
        </p:spPr>
        <p:txBody>
          <a:bodyPr vert="horz" lIns="0" tIns="36000" rIns="0" bIns="36000" rtlCol="0" anchor="ctr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1754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_2_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698AAF-8523-4EA4-87ED-7CF3B22716D1}"/>
              </a:ext>
            </a:extLst>
          </p:cNvPr>
          <p:cNvSpPr/>
          <p:nvPr userDrawn="1"/>
        </p:nvSpPr>
        <p:spPr>
          <a:xfrm>
            <a:off x="1" y="0"/>
            <a:ext cx="7200000" cy="685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rgbClr val="1F3965"/>
              </a:gs>
              <a:gs pos="80000">
                <a:srgbClr val="5177B9"/>
              </a:gs>
              <a:gs pos="44000">
                <a:srgbClr val="31599E"/>
              </a:gs>
              <a:gs pos="100000">
                <a:srgbClr val="7094D3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3600" rIns="90000"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1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0EECE86-E7DD-4AF6-80F7-AD5A223E64F3}"/>
              </a:ext>
            </a:extLst>
          </p:cNvPr>
          <p:cNvGrpSpPr/>
          <p:nvPr userDrawn="1"/>
        </p:nvGrpSpPr>
        <p:grpSpPr>
          <a:xfrm>
            <a:off x="839788" y="6341047"/>
            <a:ext cx="2001155" cy="369332"/>
            <a:chOff x="574633" y="720339"/>
            <a:chExt cx="3188444" cy="588457"/>
          </a:xfrm>
          <a:noFill/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39904FD-ACA6-404B-AD3F-FF04357E01BB}"/>
                </a:ext>
              </a:extLst>
            </p:cNvPr>
            <p:cNvSpPr txBox="1"/>
            <p:nvPr/>
          </p:nvSpPr>
          <p:spPr>
            <a:xfrm>
              <a:off x="1806673" y="792655"/>
              <a:ext cx="1956404" cy="49038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GB" sz="700">
                  <a:solidFill>
                    <a:schemeClr val="bg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Medium" charset="0"/>
                  <a:ea typeface="Franklin Gothic Medium" charset="0"/>
                  <a:cs typeface="Franklin Gothic Medium" charset="0"/>
                </a:rPr>
                <a:t>Students’ Association for Data Analytics &amp; Statistic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F4EB27E-7228-48A5-A85E-5FB3D12169F6}"/>
                </a:ext>
              </a:extLst>
            </p:cNvPr>
            <p:cNvSpPr txBox="1"/>
            <p:nvPr/>
          </p:nvSpPr>
          <p:spPr>
            <a:xfrm>
              <a:off x="574633" y="720339"/>
              <a:ext cx="1980536" cy="58845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de-DE">
                  <a:solidFill>
                    <a:schemeClr val="bg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Demi" charset="0"/>
                  <a:ea typeface="Franklin Gothic Demi" charset="0"/>
                  <a:cs typeface="Franklin Gothic Demi" charset="0"/>
                </a:rPr>
                <a:t>STADS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1B5A2D5B-CCCB-4A63-AABE-7DA84DBC30C7}"/>
                </a:ext>
              </a:extLst>
            </p:cNvPr>
            <p:cNvCxnSpPr/>
            <p:nvPr/>
          </p:nvCxnSpPr>
          <p:spPr>
            <a:xfrm>
              <a:off x="1869238" y="868979"/>
              <a:ext cx="0" cy="337418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Slide Number Placeholder 18">
            <a:extLst>
              <a:ext uri="{FF2B5EF4-FFF2-40B4-BE49-F238E27FC236}">
                <a16:creationId xmlns:a16="http://schemas.microsoft.com/office/drawing/2014/main" id="{9AA55472-7A30-4935-B82A-90A2C3F8E8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75963" y="6424073"/>
            <a:ext cx="476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de-DE" sz="1100" b="1" smtClean="0">
                <a:latin typeface="Franklin Gothic Book" charset="0"/>
                <a:ea typeface="Franklin Gothic Book" charset="0"/>
                <a:cs typeface="Franklin Gothic Book" charset="0"/>
              </a:defRPr>
            </a:lvl1pPr>
          </a:lstStyle>
          <a:p>
            <a:fld id="{9DA5C334-A66F-BE4B-8043-072F869F08CC}" type="slidenum">
              <a:rPr lang="uk-UA" smtClean="0"/>
              <a:pPr/>
              <a:t>‹#›</a:t>
            </a:fld>
            <a:endParaRPr lang="uk-UA"/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DA5653D1-0756-454C-90E6-B7F1806747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2382" y="478050"/>
            <a:ext cx="6357619" cy="972000"/>
          </a:xfrm>
          <a:prstGeom prst="rect">
            <a:avLst/>
          </a:prstGeom>
          <a:noFill/>
        </p:spPr>
        <p:txBody>
          <a:bodyPr vert="horz" lIns="0" tIns="36000" rIns="0" bIns="3600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193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_2_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698AAF-8523-4EA4-87ED-7CF3B22716D1}"/>
              </a:ext>
            </a:extLst>
          </p:cNvPr>
          <p:cNvSpPr/>
          <p:nvPr userDrawn="1"/>
        </p:nvSpPr>
        <p:spPr>
          <a:xfrm>
            <a:off x="6097200" y="0"/>
            <a:ext cx="6094800" cy="685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rgbClr val="1F3965"/>
              </a:gs>
              <a:gs pos="80000">
                <a:srgbClr val="5177B9"/>
              </a:gs>
              <a:gs pos="44000">
                <a:srgbClr val="31599E"/>
              </a:gs>
              <a:gs pos="100000">
                <a:srgbClr val="7094D3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3600" rIns="90000"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1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5" name="Slide Number Placeholder 18">
            <a:extLst>
              <a:ext uri="{FF2B5EF4-FFF2-40B4-BE49-F238E27FC236}">
                <a16:creationId xmlns:a16="http://schemas.microsoft.com/office/drawing/2014/main" id="{AA21816D-5738-4DA0-8C4B-D4B6A217E9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75963" y="6424073"/>
            <a:ext cx="476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de-DE" sz="1100" b="1" smtClean="0">
                <a:solidFill>
                  <a:schemeClr val="bg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</a:lstStyle>
          <a:p>
            <a:fld id="{9DA5C334-A66F-BE4B-8043-072F869F08CC}" type="slidenum">
              <a:rPr lang="uk-UA" smtClean="0"/>
              <a:pPr/>
              <a:t>‹#›</a:t>
            </a:fld>
            <a:endParaRPr lang="uk-UA"/>
          </a:p>
        </p:txBody>
      </p:sp>
      <p:grpSp>
        <p:nvGrpSpPr>
          <p:cNvPr id="6" name="Group 10">
            <a:extLst>
              <a:ext uri="{FF2B5EF4-FFF2-40B4-BE49-F238E27FC236}">
                <a16:creationId xmlns:a16="http://schemas.microsoft.com/office/drawing/2014/main" id="{023A26FE-81F1-4BB8-91FC-DFDBFFB4BE16}"/>
              </a:ext>
            </a:extLst>
          </p:cNvPr>
          <p:cNvGrpSpPr/>
          <p:nvPr userDrawn="1"/>
        </p:nvGrpSpPr>
        <p:grpSpPr>
          <a:xfrm>
            <a:off x="839788" y="6341047"/>
            <a:ext cx="2001155" cy="369332"/>
            <a:chOff x="574633" y="720339"/>
            <a:chExt cx="3188444" cy="588457"/>
          </a:xfrm>
          <a:noFill/>
        </p:grpSpPr>
        <p:sp>
          <p:nvSpPr>
            <p:cNvPr id="9" name="TextBox 11">
              <a:extLst>
                <a:ext uri="{FF2B5EF4-FFF2-40B4-BE49-F238E27FC236}">
                  <a16:creationId xmlns:a16="http://schemas.microsoft.com/office/drawing/2014/main" id="{1665A3EB-E517-424F-81B5-FF007BB27B62}"/>
                </a:ext>
              </a:extLst>
            </p:cNvPr>
            <p:cNvSpPr txBox="1"/>
            <p:nvPr/>
          </p:nvSpPr>
          <p:spPr>
            <a:xfrm>
              <a:off x="1806673" y="792655"/>
              <a:ext cx="1956404" cy="49038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GB" sz="700">
                  <a:solidFill>
                    <a:schemeClr val="accent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Medium" charset="0"/>
                  <a:ea typeface="Franklin Gothic Medium" charset="0"/>
                  <a:cs typeface="Franklin Gothic Medium" charset="0"/>
                </a:rPr>
                <a:t>Students’ Association for Data Analytics &amp; Statistics</a:t>
              </a:r>
            </a:p>
          </p:txBody>
        </p:sp>
        <p:sp>
          <p:nvSpPr>
            <p:cNvPr id="10" name="TextBox 12">
              <a:extLst>
                <a:ext uri="{FF2B5EF4-FFF2-40B4-BE49-F238E27FC236}">
                  <a16:creationId xmlns:a16="http://schemas.microsoft.com/office/drawing/2014/main" id="{791893F3-89DC-4FFA-A4BB-805238C130DB}"/>
                </a:ext>
              </a:extLst>
            </p:cNvPr>
            <p:cNvSpPr txBox="1"/>
            <p:nvPr/>
          </p:nvSpPr>
          <p:spPr>
            <a:xfrm>
              <a:off x="574633" y="720339"/>
              <a:ext cx="1980536" cy="58845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de-DE">
                  <a:solidFill>
                    <a:schemeClr val="accent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Demi" charset="0"/>
                  <a:ea typeface="Franklin Gothic Demi" charset="0"/>
                  <a:cs typeface="Franklin Gothic Demi" charset="0"/>
                </a:rPr>
                <a:t>STADS</a:t>
              </a:r>
            </a:p>
          </p:txBody>
        </p:sp>
        <p:cxnSp>
          <p:nvCxnSpPr>
            <p:cNvPr id="11" name="Straight Connector 13">
              <a:extLst>
                <a:ext uri="{FF2B5EF4-FFF2-40B4-BE49-F238E27FC236}">
                  <a16:creationId xmlns:a16="http://schemas.microsoft.com/office/drawing/2014/main" id="{6BA98E0B-3A10-4EC9-BBD9-27A0FE47DF64}"/>
                </a:ext>
              </a:extLst>
            </p:cNvPr>
            <p:cNvCxnSpPr/>
            <p:nvPr/>
          </p:nvCxnSpPr>
          <p:spPr>
            <a:xfrm>
              <a:off x="1869238" y="868979"/>
              <a:ext cx="0" cy="337418"/>
            </a:xfrm>
            <a:prstGeom prst="lin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BF2EE44-92B0-4ED8-90B8-4BCD46AF53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2382" y="478050"/>
            <a:ext cx="5252419" cy="972000"/>
          </a:xfrm>
          <a:prstGeom prst="rect">
            <a:avLst/>
          </a:prstGeom>
          <a:noFill/>
        </p:spPr>
        <p:txBody>
          <a:bodyPr vert="horz" lIns="0" tIns="36000" rIns="0" bIns="36000" rtlCol="0" anchor="t">
            <a:noAutofit/>
          </a:bodyPr>
          <a:lstStyle>
            <a:lvl1pPr>
              <a:defRPr lang="en-US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Titel</a:t>
            </a:r>
            <a:endParaRPr lang="en-US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41AA3CF2-87D7-4F45-8F0B-653A8204EC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963" y="179035"/>
            <a:ext cx="5253038" cy="28800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>
            <a:lvl1pPr marL="0" indent="0">
              <a:buFont typeface="Arial" panose="020B0604020202020204" pitchFamily="34" charset="0"/>
              <a:buNone/>
              <a:defRPr lang="en-US" sz="1400" cap="all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pPr marL="0" lvl="0">
              <a:spcBef>
                <a:spcPct val="0"/>
              </a:spcBef>
            </a:pPr>
            <a:r>
              <a:rPr lang="en-US"/>
              <a:t>BREADCRUMBS – </a:t>
            </a:r>
            <a:r>
              <a:rPr lang="en-US" err="1"/>
              <a:t>Themenbereich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450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Agenda_2_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698AAF-8523-4EA4-87ED-7CF3B22716D1}"/>
              </a:ext>
            </a:extLst>
          </p:cNvPr>
          <p:cNvSpPr/>
          <p:nvPr userDrawn="1"/>
        </p:nvSpPr>
        <p:spPr>
          <a:xfrm>
            <a:off x="7872000" y="0"/>
            <a:ext cx="4320000" cy="685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rgbClr val="1F3965"/>
              </a:gs>
              <a:gs pos="80000">
                <a:srgbClr val="5177B9"/>
              </a:gs>
              <a:gs pos="44000">
                <a:srgbClr val="31599E"/>
              </a:gs>
              <a:gs pos="100000">
                <a:srgbClr val="7094D3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3600" rIns="90000"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1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6" name="Slide Number Placeholder 18">
            <a:extLst>
              <a:ext uri="{FF2B5EF4-FFF2-40B4-BE49-F238E27FC236}">
                <a16:creationId xmlns:a16="http://schemas.microsoft.com/office/drawing/2014/main" id="{43C9D540-5390-404C-BFE5-EB362ED9E4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75963" y="6424073"/>
            <a:ext cx="476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de-DE" sz="1100" b="1" smtClean="0">
                <a:solidFill>
                  <a:schemeClr val="bg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</a:lstStyle>
          <a:p>
            <a:fld id="{9DA5C334-A66F-BE4B-8043-072F869F08CC}" type="slidenum">
              <a:rPr lang="uk-UA" smtClean="0"/>
              <a:pPr/>
              <a:t>‹#›</a:t>
            </a:fld>
            <a:endParaRPr lang="uk-UA"/>
          </a:p>
        </p:txBody>
      </p:sp>
      <p:grpSp>
        <p:nvGrpSpPr>
          <p:cNvPr id="12" name="Group 10">
            <a:extLst>
              <a:ext uri="{FF2B5EF4-FFF2-40B4-BE49-F238E27FC236}">
                <a16:creationId xmlns:a16="http://schemas.microsoft.com/office/drawing/2014/main" id="{C6A3EF53-1D51-4A03-B65D-C1DCB8C8288C}"/>
              </a:ext>
            </a:extLst>
          </p:cNvPr>
          <p:cNvGrpSpPr/>
          <p:nvPr userDrawn="1"/>
        </p:nvGrpSpPr>
        <p:grpSpPr>
          <a:xfrm>
            <a:off x="839788" y="6341047"/>
            <a:ext cx="2001155" cy="369332"/>
            <a:chOff x="574633" y="720339"/>
            <a:chExt cx="3188444" cy="588457"/>
          </a:xfrm>
          <a:noFill/>
        </p:grpSpPr>
        <p:sp>
          <p:nvSpPr>
            <p:cNvPr id="13" name="TextBox 11">
              <a:extLst>
                <a:ext uri="{FF2B5EF4-FFF2-40B4-BE49-F238E27FC236}">
                  <a16:creationId xmlns:a16="http://schemas.microsoft.com/office/drawing/2014/main" id="{A45182C3-9127-415B-92B3-4CA2A7A32D68}"/>
                </a:ext>
              </a:extLst>
            </p:cNvPr>
            <p:cNvSpPr txBox="1"/>
            <p:nvPr/>
          </p:nvSpPr>
          <p:spPr>
            <a:xfrm>
              <a:off x="1806673" y="792655"/>
              <a:ext cx="1956404" cy="49038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GB" sz="700">
                  <a:solidFill>
                    <a:schemeClr val="accent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Medium" charset="0"/>
                  <a:ea typeface="Franklin Gothic Medium" charset="0"/>
                  <a:cs typeface="Franklin Gothic Medium" charset="0"/>
                </a:rPr>
                <a:t>Students’ Association for Data Analytics &amp; Statistics</a:t>
              </a:r>
            </a:p>
          </p:txBody>
        </p:sp>
        <p:sp>
          <p:nvSpPr>
            <p:cNvPr id="14" name="TextBox 12">
              <a:extLst>
                <a:ext uri="{FF2B5EF4-FFF2-40B4-BE49-F238E27FC236}">
                  <a16:creationId xmlns:a16="http://schemas.microsoft.com/office/drawing/2014/main" id="{6D986ABD-F1D8-4C6C-BDB0-1C3A59BAAB0A}"/>
                </a:ext>
              </a:extLst>
            </p:cNvPr>
            <p:cNvSpPr txBox="1"/>
            <p:nvPr/>
          </p:nvSpPr>
          <p:spPr>
            <a:xfrm>
              <a:off x="574633" y="720339"/>
              <a:ext cx="1980536" cy="58845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de-DE">
                  <a:solidFill>
                    <a:schemeClr val="accent1">
                      <a:alpha val="84000"/>
                    </a:schemeClr>
                  </a:solidFill>
                  <a:effectLst>
                    <a:reflection endPos="0" dist="50800" dir="5400000" sy="-100000" algn="bl" rotWithShape="0"/>
                  </a:effectLst>
                  <a:latin typeface="Franklin Gothic Demi" charset="0"/>
                  <a:ea typeface="Franklin Gothic Demi" charset="0"/>
                  <a:cs typeface="Franklin Gothic Demi" charset="0"/>
                </a:rPr>
                <a:t>STADS</a:t>
              </a:r>
            </a:p>
          </p:txBody>
        </p:sp>
        <p:cxnSp>
          <p:nvCxnSpPr>
            <p:cNvPr id="15" name="Straight Connector 13">
              <a:extLst>
                <a:ext uri="{FF2B5EF4-FFF2-40B4-BE49-F238E27FC236}">
                  <a16:creationId xmlns:a16="http://schemas.microsoft.com/office/drawing/2014/main" id="{D3A4FA64-077A-4245-9D9B-D29EE6FC24F7}"/>
                </a:ext>
              </a:extLst>
            </p:cNvPr>
            <p:cNvCxnSpPr/>
            <p:nvPr/>
          </p:nvCxnSpPr>
          <p:spPr>
            <a:xfrm>
              <a:off x="1869238" y="868979"/>
              <a:ext cx="0" cy="337418"/>
            </a:xfrm>
            <a:prstGeom prst="lin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22600E18-0A48-4660-873E-0AA686134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2382" y="478050"/>
            <a:ext cx="7029618" cy="972000"/>
          </a:xfrm>
          <a:prstGeom prst="rect">
            <a:avLst/>
          </a:prstGeom>
          <a:noFill/>
        </p:spPr>
        <p:txBody>
          <a:bodyPr vert="horz" lIns="0" tIns="36000" rIns="0" bIns="36000" rtlCol="0" anchor="t">
            <a:noAutofit/>
          </a:bodyPr>
          <a:lstStyle>
            <a:lvl1pPr>
              <a:defRPr lang="en-US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Titel</a:t>
            </a:r>
            <a:endParaRPr lang="en-US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18ED7251-D51C-4198-81E4-0AE138D236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962" y="179035"/>
            <a:ext cx="7029037" cy="28800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>
            <a:lvl1pPr marL="0" indent="0">
              <a:buFont typeface="Arial" panose="020B0604020202020204" pitchFamily="34" charset="0"/>
              <a:buNone/>
              <a:defRPr lang="en-US" sz="1400" cap="all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Franklin Gothic Medium" charset="0"/>
                <a:ea typeface="Franklin Gothic Medium" charset="0"/>
                <a:cs typeface="Franklin Gothic Medium" charset="0"/>
              </a:defRPr>
            </a:lvl1pPr>
          </a:lstStyle>
          <a:p>
            <a:pPr marL="0" lvl="0">
              <a:spcBef>
                <a:spcPct val="0"/>
              </a:spcBef>
            </a:pPr>
            <a:r>
              <a:rPr lang="en-US"/>
              <a:t>BREADCRUMBS – </a:t>
            </a:r>
            <a:r>
              <a:rPr lang="en-US" err="1"/>
              <a:t>Themenbereich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41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59980D1-749C-F792-DC80-FC7F43B49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5448667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5" imgW="7772400" imgH="10058400" progId="TCLayout.ActiveDocument.1">
                  <p:embed/>
                </p:oleObj>
              </mc:Choice>
              <mc:Fallback>
                <p:oleObj name="think-cell Folie" r:id="rId25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59980D1-749C-F792-DC80-FC7F43B49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371442"/>
            <a:ext cx="12192000" cy="4865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2964" y="478050"/>
            <a:ext cx="10509250" cy="501668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STADS – Slide Mast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69BE2C6-E649-46BF-834E-31453A9841C8}"/>
              </a:ext>
            </a:extLst>
          </p:cNvPr>
          <p:cNvSpPr txBox="1"/>
          <p:nvPr userDrawn="1"/>
        </p:nvSpPr>
        <p:spPr>
          <a:xfrm>
            <a:off x="803787" y="6493917"/>
            <a:ext cx="44995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1" dirty="0">
                <a:latin typeface="+mn-lt"/>
              </a:rPr>
              <a:t>Bachelor Thesis Paul Burkhardt</a:t>
            </a:r>
            <a:endParaRPr lang="en-US" sz="1100" b="1" dirty="0">
              <a:latin typeface="+mn-lt"/>
            </a:endParaRPr>
          </a:p>
        </p:txBody>
      </p:sp>
      <p:sp>
        <p:nvSpPr>
          <p:cNvPr id="8" name="Slide Number Placeholder 18">
            <a:extLst>
              <a:ext uri="{FF2B5EF4-FFF2-40B4-BE49-F238E27FC236}">
                <a16:creationId xmlns:a16="http://schemas.microsoft.com/office/drawing/2014/main" id="{9161D8A6-25BC-4B5A-9927-11A68C496658}"/>
              </a:ext>
            </a:extLst>
          </p:cNvPr>
          <p:cNvSpPr txBox="1">
            <a:spLocks/>
          </p:cNvSpPr>
          <p:nvPr userDrawn="1"/>
        </p:nvSpPr>
        <p:spPr>
          <a:xfrm>
            <a:off x="11016402" y="6432158"/>
            <a:ext cx="476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lang="de-DE" sz="1100" b="1" kern="1200" smtClean="0">
                <a:solidFill>
                  <a:schemeClr val="tx1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A5C334-A66F-BE4B-8043-072F869F08CC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D9D4FA0-A054-F0C4-1921-A0927CDB8BCF}"/>
              </a:ext>
            </a:extLst>
          </p:cNvPr>
          <p:cNvSpPr txBox="1"/>
          <p:nvPr userDrawn="1"/>
        </p:nvSpPr>
        <p:spPr>
          <a:xfrm>
            <a:off x="7688663" y="6493917"/>
            <a:ext cx="33999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GB" sz="1100" b="1" i="0" u="none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air of Information Systems V: Web-based Systems</a:t>
            </a:r>
            <a:endParaRPr lang="en-US" sz="1100" b="1" i="0" u="none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FC7D0A6-F6AD-9BBA-E77F-DF707DE328D7}"/>
              </a:ext>
            </a:extLst>
          </p:cNvPr>
          <p:cNvSpPr txBox="1"/>
          <p:nvPr userDrawn="1"/>
        </p:nvSpPr>
        <p:spPr>
          <a:xfrm>
            <a:off x="4941039" y="6493917"/>
            <a:ext cx="24503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1" dirty="0">
                <a:latin typeface="+mn-lt"/>
              </a:rPr>
              <a:t>Prof Dr. </a:t>
            </a:r>
            <a:r>
              <a:rPr lang="de-DE" sz="1100" b="1" dirty="0" err="1">
                <a:latin typeface="+mn-lt"/>
              </a:rPr>
              <a:t>Bizer</a:t>
            </a:r>
            <a:r>
              <a:rPr lang="de-DE" sz="1100" b="1" dirty="0">
                <a:latin typeface="+mn-lt"/>
              </a:rPr>
              <a:t> | Ralph Peeters</a:t>
            </a:r>
            <a:endParaRPr lang="en-US" sz="11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44840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88" r:id="rId2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 baseline="0">
          <a:solidFill>
            <a:schemeClr val="accent1"/>
          </a:solidFill>
          <a:latin typeface="Franklin Gothic Medium" charset="0"/>
          <a:ea typeface="Franklin Gothic Medium" charset="0"/>
          <a:cs typeface="Franklin Gothic Medium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charset="2"/>
        <a:buChar char="§"/>
        <a:defRPr sz="2800" kern="120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charset="2"/>
        <a:buChar char="§"/>
        <a:defRPr sz="2400" kern="120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charset="2"/>
        <a:buChar char="§"/>
        <a:defRPr sz="2000" kern="120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charset="2"/>
        <a:buChar char="§"/>
        <a:defRPr sz="1800" kern="120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charset="2"/>
        <a:buChar char="§"/>
        <a:defRPr sz="1800" kern="1200">
          <a:solidFill>
            <a:schemeClr val="tx1"/>
          </a:solidFill>
          <a:latin typeface="Franklin Gothic Book" charset="0"/>
          <a:ea typeface="Franklin Gothic Book" charset="0"/>
          <a:cs typeface="Franklin Gothic Book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6" orient="horz" pos="913">
          <p15:clr>
            <a:srgbClr val="F26B43"/>
          </p15:clr>
        </p15:guide>
        <p15:guide id="7" orient="horz" pos="3861">
          <p15:clr>
            <a:srgbClr val="F26B43"/>
          </p15:clr>
        </p15:guide>
        <p15:guide id="8" orient="horz" pos="2387">
          <p15:clr>
            <a:srgbClr val="F26B43"/>
          </p15:clr>
        </p15:guide>
        <p15:guide id="9" pos="7151">
          <p15:clr>
            <a:srgbClr val="F26B43"/>
          </p15:clr>
        </p15:guide>
        <p15:guide id="10" orient="horz" pos="300">
          <p15:clr>
            <a:srgbClr val="F26B43"/>
          </p15:clr>
        </p15:guide>
        <p15:guide id="11" pos="3840">
          <p15:clr>
            <a:srgbClr val="F26B43"/>
          </p15:clr>
        </p15:guide>
        <p15:guide id="12" orient="horz" pos="68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3AA0A3-5D34-632D-1BC0-578736C3E08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DE" dirty="0"/>
              <a:t>Bachelor Thesis: Checkpoi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45CDDD-063E-9351-5171-FAA4D8A6DA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34" y="1491900"/>
            <a:ext cx="5761567" cy="1321637"/>
          </a:xfrm>
        </p:spPr>
        <p:txBody>
          <a:bodyPr/>
          <a:lstStyle/>
          <a:p>
            <a:r>
              <a:rPr lang="en-DE" dirty="0"/>
              <a:t>Paul Burkhardt</a:t>
            </a:r>
          </a:p>
          <a:p>
            <a:r>
              <a:rPr lang="en-GB" sz="1800" dirty="0">
                <a:effectLst/>
                <a:latin typeface="CMSSBX10"/>
              </a:rPr>
              <a:t>Evaluation of Chain-of-Thought Prompting on the Task of Entity Matching </a:t>
            </a:r>
            <a:endParaRPr lang="en-GB" dirty="0"/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9718252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1E552-0305-DA9E-40D4-B562686D8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Baseline Prompt GPT 4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3C144B-8FBC-6E1F-C8A7-8574FDC0A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lang="en-DE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2B14DA8-3D3B-251C-CE01-CBA84528A1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2491" y="1089024"/>
            <a:ext cx="10511308" cy="360363"/>
          </a:xfrm>
        </p:spPr>
        <p:txBody>
          <a:bodyPr/>
          <a:lstStyle/>
          <a:p>
            <a:r>
              <a:rPr lang="en-GB" sz="1200" b="1" dirty="0">
                <a:effectLst/>
              </a:rPr>
              <a:t>Dataset</a:t>
            </a:r>
            <a:r>
              <a:rPr lang="en-GB" sz="1200" b="0" dirty="0">
                <a:effectLst/>
              </a:rPr>
              <a:t>: WDC</a:t>
            </a:r>
            <a:endParaRPr lang="en-GB" sz="1600" b="0" dirty="0">
              <a:effectLst/>
            </a:endParaRPr>
          </a:p>
          <a:p>
            <a:endParaRPr lang="en-DE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03499C-5067-E9F6-D944-B3E0EECA285C}"/>
              </a:ext>
            </a:extLst>
          </p:cNvPr>
          <p:cNvSpPr txBox="1"/>
          <p:nvPr/>
        </p:nvSpPr>
        <p:spPr>
          <a:xfrm>
            <a:off x="842380" y="1482407"/>
            <a:ext cx="210112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CoT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4-0613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C1E269-CD3D-878E-75AF-4EE39B29C145}"/>
              </a:ext>
            </a:extLst>
          </p:cNvPr>
          <p:cNvSpPr txBox="1"/>
          <p:nvPr/>
        </p:nvSpPr>
        <p:spPr>
          <a:xfrm>
            <a:off x="444843" y="57953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C41CD60-6B4C-9CBA-379A-6678CA8DD9BB}"/>
              </a:ext>
            </a:extLst>
          </p:cNvPr>
          <p:cNvSpPr txBox="1"/>
          <p:nvPr/>
        </p:nvSpPr>
        <p:spPr>
          <a:xfrm>
            <a:off x="2857774" y="1482407"/>
            <a:ext cx="6878806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ould you please tell me if the following two products are the same one?</a:t>
            </a:r>
            <a:endParaRPr lang="en-GB" sz="12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2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oduct 1: {p1}</a:t>
            </a:r>
            <a:endParaRPr lang="en-GB" sz="12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2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oduct 2: {p2}</a:t>
            </a:r>
            <a:endParaRPr lang="en-GB" sz="12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br>
              <a:rPr lang="en-GB" sz="12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</a:br>
            <a:r>
              <a:rPr lang="en-GB" sz="12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lease answer my question with Yes or No. Lets think step by step.</a:t>
            </a:r>
            <a:endParaRPr lang="en-GB" sz="12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DE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B50B46-D5E1-A113-01AC-EBF46C39792D}"/>
              </a:ext>
            </a:extLst>
          </p:cNvPr>
          <p:cNvSpPr txBox="1"/>
          <p:nvPr/>
        </p:nvSpPr>
        <p:spPr>
          <a:xfrm>
            <a:off x="4065373" y="292855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92AA21C-CCBC-A4ED-7BB2-81D34DC9F53F}"/>
              </a:ext>
            </a:extLst>
          </p:cNvPr>
          <p:cNvCxnSpPr/>
          <p:nvPr/>
        </p:nvCxnSpPr>
        <p:spPr>
          <a:xfrm>
            <a:off x="864288" y="3280231"/>
            <a:ext cx="105098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6" name="Table 26">
            <a:extLst>
              <a:ext uri="{FF2B5EF4-FFF2-40B4-BE49-F238E27FC236}">
                <a16:creationId xmlns:a16="http://schemas.microsoft.com/office/drawing/2014/main" id="{75E33A57-DB8F-C5B7-0F2D-1575AE4DC1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862909"/>
              </p:ext>
            </p:extLst>
          </p:nvPr>
        </p:nvGraphicFramePr>
        <p:xfrm>
          <a:off x="864289" y="3787980"/>
          <a:ext cx="10512425" cy="123454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67775">
                  <a:extLst>
                    <a:ext uri="{9D8B030D-6E8A-4147-A177-3AD203B41FA5}">
                      <a16:colId xmlns:a16="http://schemas.microsoft.com/office/drawing/2014/main" val="1301624438"/>
                    </a:ext>
                  </a:extLst>
                </a:gridCol>
                <a:gridCol w="2311868">
                  <a:extLst>
                    <a:ext uri="{9D8B030D-6E8A-4147-A177-3AD203B41FA5}">
                      <a16:colId xmlns:a16="http://schemas.microsoft.com/office/drawing/2014/main" val="1220160376"/>
                    </a:ext>
                  </a:extLst>
                </a:gridCol>
                <a:gridCol w="1540750">
                  <a:extLst>
                    <a:ext uri="{9D8B030D-6E8A-4147-A177-3AD203B41FA5}">
                      <a16:colId xmlns:a16="http://schemas.microsoft.com/office/drawing/2014/main" val="2586736192"/>
                    </a:ext>
                  </a:extLst>
                </a:gridCol>
                <a:gridCol w="2289547">
                  <a:extLst>
                    <a:ext uri="{9D8B030D-6E8A-4147-A177-3AD203B41FA5}">
                      <a16:colId xmlns:a16="http://schemas.microsoft.com/office/drawing/2014/main" val="2983772812"/>
                    </a:ext>
                  </a:extLst>
                </a:gridCol>
                <a:gridCol w="2102485">
                  <a:extLst>
                    <a:ext uri="{9D8B030D-6E8A-4147-A177-3AD203B41FA5}">
                      <a16:colId xmlns:a16="http://schemas.microsoft.com/office/drawing/2014/main" val="2582006826"/>
                    </a:ext>
                  </a:extLst>
                </a:gridCol>
              </a:tblGrid>
              <a:tr h="655423">
                <a:tc>
                  <a:txBody>
                    <a:bodyPr/>
                    <a:lstStyle/>
                    <a:p>
                      <a:r>
                        <a:rPr lang="en-DE" sz="1600" dirty="0"/>
                        <a:t>Accura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 dirty="0"/>
                        <a:t>Rec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 dirty="0"/>
                        <a:t>F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 dirty="0"/>
                        <a:t>Confusion Matr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459868"/>
                  </a:ext>
                </a:extLst>
              </a:tr>
              <a:tr h="548958">
                <a:tc>
                  <a:txBody>
                    <a:bodyPr/>
                    <a:lstStyle/>
                    <a:p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5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2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2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7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192   4]</a:t>
                      </a:r>
                    </a:p>
                    <a:p>
                      <a:pPr marL="0" algn="l" defTabSz="914400" rtl="0" eaLnBrk="1" latinLnBrk="0" hangingPunct="1"/>
                      <a:r>
                        <a:rPr lang="en-GB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  7  18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167106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22716CC-DCE8-9949-D548-E724D3251156}"/>
              </a:ext>
            </a:extLst>
          </p:cNvPr>
          <p:cNvSpPr txBox="1"/>
          <p:nvPr/>
        </p:nvSpPr>
        <p:spPr>
          <a:xfrm>
            <a:off x="849838" y="5347095"/>
            <a:ext cx="87030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è"/>
            </a:pPr>
            <a:r>
              <a:rPr lang="de-DE" dirty="0" err="1"/>
              <a:t>Slightly</a:t>
            </a:r>
            <a:r>
              <a:rPr lang="de-DE" dirty="0"/>
              <a:t> </a:t>
            </a:r>
            <a:r>
              <a:rPr lang="de-DE" dirty="0" err="1"/>
              <a:t>better</a:t>
            </a:r>
            <a:r>
              <a:rPr lang="de-DE" dirty="0"/>
              <a:t> </a:t>
            </a:r>
            <a:r>
              <a:rPr lang="de-DE" dirty="0" err="1"/>
              <a:t>result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</a:t>
            </a:r>
            <a:r>
              <a:rPr lang="en-GB" sz="1800" dirty="0"/>
              <a:t>GPT 3.5-turbo-0301, but not significantly (F1: 0.77 vs 0.76)</a:t>
            </a:r>
            <a:endParaRPr lang="en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81255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1E552-0305-DA9E-40D4-B562686D8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sz="2800" dirty="0"/>
              <a:t>Auto-few-shot-CoT (GPT 4 few-shot reasoning + GPT 4 CoT reasoning)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3C144B-8FBC-6E1F-C8A7-8574FDC0A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lang="en-DE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2B14DA8-3D3B-251C-CE01-CBA84528A1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2491" y="1089024"/>
            <a:ext cx="10511308" cy="360363"/>
          </a:xfrm>
        </p:spPr>
        <p:txBody>
          <a:bodyPr/>
          <a:lstStyle/>
          <a:p>
            <a:r>
              <a:rPr lang="en-GB" sz="1200" b="1" dirty="0">
                <a:effectLst/>
              </a:rPr>
              <a:t>Reasoning is generated by </a:t>
            </a:r>
            <a:r>
              <a:rPr lang="en-GB" sz="1200" b="1" dirty="0"/>
              <a:t>GPT 4-turbo-0613 through Zero-Shot Prompting</a:t>
            </a:r>
            <a:endParaRPr lang="en-GB" sz="1200" b="1" dirty="0">
              <a:effectLst/>
            </a:endParaRPr>
          </a:p>
          <a:p>
            <a:r>
              <a:rPr lang="en-GB" sz="1200" b="1" dirty="0">
                <a:effectLst/>
              </a:rPr>
              <a:t>Dataset</a:t>
            </a:r>
            <a:r>
              <a:rPr lang="en-GB" sz="1200" b="0" dirty="0">
                <a:effectLst/>
              </a:rPr>
              <a:t>: WDC</a:t>
            </a:r>
          </a:p>
          <a:p>
            <a:endParaRPr lang="en-GB" sz="1600" b="0" dirty="0">
              <a:effectLst/>
            </a:endParaRPr>
          </a:p>
          <a:p>
            <a:endParaRPr lang="en-DE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03499C-5067-E9F6-D944-B3E0EECA285C}"/>
              </a:ext>
            </a:extLst>
          </p:cNvPr>
          <p:cNvSpPr txBox="1"/>
          <p:nvPr/>
        </p:nvSpPr>
        <p:spPr>
          <a:xfrm>
            <a:off x="839788" y="1482407"/>
            <a:ext cx="21011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CoT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4-0613</a:t>
            </a:r>
            <a:r>
              <a:rPr lang="en-GB" sz="1200" b="1" dirty="0"/>
              <a:t> 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r>
              <a:rPr lang="en-GB" sz="1200" dirty="0"/>
              <a:t>2 examples</a:t>
            </a:r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C1E269-CD3D-878E-75AF-4EE39B29C145}"/>
              </a:ext>
            </a:extLst>
          </p:cNvPr>
          <p:cNvSpPr txBox="1"/>
          <p:nvPr/>
        </p:nvSpPr>
        <p:spPr>
          <a:xfrm>
            <a:off x="444843" y="57953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C41CD60-6B4C-9CBA-379A-6678CA8DD9BB}"/>
              </a:ext>
            </a:extLst>
          </p:cNvPr>
          <p:cNvSpPr txBox="1"/>
          <p:nvPr/>
        </p:nvSpPr>
        <p:spPr>
          <a:xfrm>
            <a:off x="2857774" y="1482407"/>
            <a:ext cx="4802918" cy="19236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Auto-generated few shot </a:t>
            </a:r>
            <a:r>
              <a:rPr lang="en-GB" sz="900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oT</a:t>
            </a:r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-Prompt with two examples in the format:</a:t>
            </a: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Q: Are the following two products the same?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Product 1: …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Product 2: …</a:t>
            </a:r>
            <a:endParaRPr lang="en-GB" sz="9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A: </a:t>
            </a:r>
            <a:r>
              <a:rPr lang="en-GB" sz="900" i="1" dirty="0">
                <a:solidFill>
                  <a:srgbClr val="CE9178"/>
                </a:solidFill>
                <a:latin typeface="Menlo" panose="020B0609030804020204" pitchFamily="49" charset="0"/>
              </a:rPr>
              <a:t>Reasoning</a:t>
            </a:r>
          </a:p>
          <a:p>
            <a:r>
              <a:rPr lang="en-GB" sz="900" i="1" dirty="0">
                <a:solidFill>
                  <a:srgbClr val="CE9178"/>
                </a:solidFill>
                <a:latin typeface="Menlo" panose="020B0609030804020204" pitchFamily="49" charset="0"/>
              </a:rPr>
              <a:t>Result (Match or No Match)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…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Q: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A: Let’s think step by step!</a:t>
            </a:r>
          </a:p>
          <a:p>
            <a:endParaRPr lang="en-GB" sz="9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endParaRPr lang="en-GB" sz="9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DE" sz="11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B50B46-D5E1-A113-01AC-EBF46C39792D}"/>
              </a:ext>
            </a:extLst>
          </p:cNvPr>
          <p:cNvSpPr txBox="1"/>
          <p:nvPr/>
        </p:nvSpPr>
        <p:spPr>
          <a:xfrm>
            <a:off x="4065373" y="292855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graphicFrame>
        <p:nvGraphicFramePr>
          <p:cNvPr id="26" name="Table 26">
            <a:extLst>
              <a:ext uri="{FF2B5EF4-FFF2-40B4-BE49-F238E27FC236}">
                <a16:creationId xmlns:a16="http://schemas.microsoft.com/office/drawing/2014/main" id="{75E33A57-DB8F-C5B7-0F2D-1575AE4DC1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4746746"/>
              </p:ext>
            </p:extLst>
          </p:nvPr>
        </p:nvGraphicFramePr>
        <p:xfrm>
          <a:off x="864288" y="3789363"/>
          <a:ext cx="10512425" cy="123454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67775">
                  <a:extLst>
                    <a:ext uri="{9D8B030D-6E8A-4147-A177-3AD203B41FA5}">
                      <a16:colId xmlns:a16="http://schemas.microsoft.com/office/drawing/2014/main" val="1301624438"/>
                    </a:ext>
                  </a:extLst>
                </a:gridCol>
                <a:gridCol w="2311868">
                  <a:extLst>
                    <a:ext uri="{9D8B030D-6E8A-4147-A177-3AD203B41FA5}">
                      <a16:colId xmlns:a16="http://schemas.microsoft.com/office/drawing/2014/main" val="1220160376"/>
                    </a:ext>
                  </a:extLst>
                </a:gridCol>
                <a:gridCol w="1540750">
                  <a:extLst>
                    <a:ext uri="{9D8B030D-6E8A-4147-A177-3AD203B41FA5}">
                      <a16:colId xmlns:a16="http://schemas.microsoft.com/office/drawing/2014/main" val="2586736192"/>
                    </a:ext>
                  </a:extLst>
                </a:gridCol>
                <a:gridCol w="2289547">
                  <a:extLst>
                    <a:ext uri="{9D8B030D-6E8A-4147-A177-3AD203B41FA5}">
                      <a16:colId xmlns:a16="http://schemas.microsoft.com/office/drawing/2014/main" val="2983772812"/>
                    </a:ext>
                  </a:extLst>
                </a:gridCol>
                <a:gridCol w="2102485">
                  <a:extLst>
                    <a:ext uri="{9D8B030D-6E8A-4147-A177-3AD203B41FA5}">
                      <a16:colId xmlns:a16="http://schemas.microsoft.com/office/drawing/2014/main" val="2582006826"/>
                    </a:ext>
                  </a:extLst>
                </a:gridCol>
              </a:tblGrid>
              <a:tr h="655423">
                <a:tc>
                  <a:txBody>
                    <a:bodyPr/>
                    <a:lstStyle/>
                    <a:p>
                      <a:r>
                        <a:rPr lang="en-DE" sz="1600"/>
                        <a:t>Accuracy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Precision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Recall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F1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Confusion Matrix</a:t>
                      </a:r>
                      <a:endParaRPr lang="en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459868"/>
                  </a:ext>
                </a:extLst>
              </a:tr>
              <a:tr h="548958">
                <a:tc>
                  <a:txBody>
                    <a:bodyPr/>
                    <a:lstStyle/>
                    <a:p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1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8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4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192   4]</a:t>
                      </a:r>
                    </a:p>
                    <a:p>
                      <a:pPr marL="0" algn="l" defTabSz="914400" rtl="0" eaLnBrk="1" latinLnBrk="0" hangingPunct="1"/>
                      <a:r>
                        <a:rPr lang="en-D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 8  17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16710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ED20F4B-1120-4AFB-58EC-2E41923D4A58}"/>
              </a:ext>
            </a:extLst>
          </p:cNvPr>
          <p:cNvSpPr txBox="1"/>
          <p:nvPr/>
        </p:nvSpPr>
        <p:spPr>
          <a:xfrm>
            <a:off x="849838" y="5347095"/>
            <a:ext cx="7389587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è"/>
            </a:pPr>
            <a:r>
              <a:rPr lang="de-DE" dirty="0" err="1"/>
              <a:t>Slightly</a:t>
            </a:r>
            <a:r>
              <a:rPr lang="de-DE" dirty="0"/>
              <a:t> </a:t>
            </a:r>
            <a:r>
              <a:rPr lang="de-DE" dirty="0" err="1"/>
              <a:t>better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GPT 3.5 </a:t>
            </a:r>
            <a:r>
              <a:rPr lang="de-DE" dirty="0" err="1"/>
              <a:t>generated</a:t>
            </a:r>
            <a:r>
              <a:rPr lang="de-DE" dirty="0"/>
              <a:t> </a:t>
            </a:r>
            <a:r>
              <a:rPr lang="en-DE" sz="1800" dirty="0"/>
              <a:t>CoT reasoning</a:t>
            </a:r>
          </a:p>
          <a:p>
            <a:pPr marL="285750" indent="-285750">
              <a:buFont typeface="Wingdings" pitchFamily="2" charset="2"/>
              <a:buChar char="è"/>
            </a:pPr>
            <a:r>
              <a:rPr lang="de-DE" dirty="0"/>
              <a:t>Still </a:t>
            </a:r>
            <a:r>
              <a:rPr lang="de-DE" dirty="0" err="1"/>
              <a:t>worse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Baseline Prompt</a:t>
            </a:r>
            <a:endParaRPr lang="en-DE" dirty="0"/>
          </a:p>
          <a:p>
            <a:pPr marL="285750" indent="-285750">
              <a:buFont typeface="Wingdings" pitchFamily="2" charset="2"/>
              <a:buChar char="è"/>
            </a:pPr>
            <a:r>
              <a:rPr lang="en-DE" dirty="0"/>
              <a:t>Very expensive: </a:t>
            </a:r>
            <a:r>
              <a:rPr lang="en-DE" b="0" i="0" dirty="0">
                <a:solidFill>
                  <a:srgbClr val="202124"/>
                </a:solidFill>
                <a:effectLst/>
                <a:latin typeface="Google Sans"/>
              </a:rPr>
              <a:t>~5$ </a:t>
            </a:r>
            <a:endParaRPr lang="en-DE" sz="1800" dirty="0"/>
          </a:p>
          <a:p>
            <a:pPr marL="285750" indent="-285750">
              <a:buFont typeface="Wingdings" pitchFamily="2" charset="2"/>
              <a:buChar char="è"/>
            </a:pPr>
            <a:endParaRPr lang="de-DE" dirty="0"/>
          </a:p>
          <a:p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913658-9903-6BFD-1602-1F72FD3EBFC9}"/>
              </a:ext>
            </a:extLst>
          </p:cNvPr>
          <p:cNvSpPr txBox="1"/>
          <p:nvPr/>
        </p:nvSpPr>
        <p:spPr>
          <a:xfrm>
            <a:off x="839788" y="2903683"/>
            <a:ext cx="210112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Eval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3.5-turbo-0301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45E928-1CDD-8BAC-D492-5742EAA7EE9F}"/>
              </a:ext>
            </a:extLst>
          </p:cNvPr>
          <p:cNvSpPr txBox="1"/>
          <p:nvPr/>
        </p:nvSpPr>
        <p:spPr>
          <a:xfrm>
            <a:off x="2857774" y="2903683"/>
            <a:ext cx="473398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Decide if this answer corresponds to two products matching or not.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lease answer with "match" or "no match".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Answer: {</a:t>
            </a:r>
            <a:r>
              <a:rPr lang="en-GB" sz="900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hain_of_thought_reasoning</a:t>
            </a:r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24739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C28E6F-544C-ED94-855B-32352B358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6000" b="0" dirty="0">
                <a:effectLst/>
                <a:latin typeface="+mj-lt"/>
              </a:rPr>
              <a:t>Amazon-Walmart Dataset </a:t>
            </a:r>
            <a:br>
              <a:rPr lang="en-GB" dirty="0">
                <a:latin typeface="+mj-lt"/>
              </a:rPr>
            </a:b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0D56F3-E388-A6FD-21DD-0643BD55BA32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844550" y="4564063"/>
            <a:ext cx="10507663" cy="1500187"/>
          </a:xfrm>
          <a:prstGeom prst="rect">
            <a:avLst/>
          </a:prstGeom>
        </p:spPr>
        <p:txBody>
          <a:bodyPr/>
          <a:lstStyle/>
          <a:p>
            <a:endParaRPr lang="en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03D2CC-85CB-C6EC-6C36-7F52AF14AC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9298556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1E552-0305-DA9E-40D4-B562686D8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Manual-few-shot-Co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3C144B-8FBC-6E1F-C8A7-8574FDC0A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lang="en-DE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2B14DA8-3D3B-251C-CE01-CBA84528A1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2491" y="1089024"/>
            <a:ext cx="10511308" cy="360363"/>
          </a:xfrm>
        </p:spPr>
        <p:txBody>
          <a:bodyPr/>
          <a:lstStyle/>
          <a:p>
            <a:r>
              <a:rPr lang="en-GB" sz="1200" b="1" dirty="0">
                <a:effectLst/>
              </a:rPr>
              <a:t>Dataset</a:t>
            </a:r>
            <a:r>
              <a:rPr lang="en-GB" sz="1200" b="0" dirty="0">
                <a:effectLst/>
              </a:rPr>
              <a:t>: Amazon-Walmart</a:t>
            </a:r>
            <a:endParaRPr lang="en-GB" sz="1600" b="0" dirty="0">
              <a:effectLst/>
            </a:endParaRPr>
          </a:p>
          <a:p>
            <a:endParaRPr lang="en-DE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03499C-5067-E9F6-D944-B3E0EECA285C}"/>
              </a:ext>
            </a:extLst>
          </p:cNvPr>
          <p:cNvSpPr txBox="1"/>
          <p:nvPr/>
        </p:nvSpPr>
        <p:spPr>
          <a:xfrm>
            <a:off x="839788" y="1482407"/>
            <a:ext cx="21011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CoT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3.5-turbo-0301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r>
              <a:rPr lang="en-GB" sz="1200" dirty="0"/>
              <a:t>2 examples</a:t>
            </a:r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C1E269-CD3D-878E-75AF-4EE39B29C145}"/>
              </a:ext>
            </a:extLst>
          </p:cNvPr>
          <p:cNvSpPr txBox="1"/>
          <p:nvPr/>
        </p:nvSpPr>
        <p:spPr>
          <a:xfrm>
            <a:off x="444843" y="57953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C41CD60-6B4C-9CBA-379A-6678CA8DD9BB}"/>
              </a:ext>
            </a:extLst>
          </p:cNvPr>
          <p:cNvSpPr txBox="1"/>
          <p:nvPr/>
        </p:nvSpPr>
        <p:spPr>
          <a:xfrm>
            <a:off x="2857774" y="1482407"/>
            <a:ext cx="4665060" cy="18004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Self-crafted few shot </a:t>
            </a:r>
            <a:r>
              <a:rPr lang="en-GB" sz="900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oT</a:t>
            </a:r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-Prompt with two examples in the format:</a:t>
            </a: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Q: Are the following two products the same?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Product 1: …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Product 2: …</a:t>
            </a:r>
            <a:endParaRPr lang="en-GB" sz="9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A: </a:t>
            </a:r>
            <a:r>
              <a:rPr lang="en-GB" sz="900" i="1" dirty="0">
                <a:solidFill>
                  <a:srgbClr val="CE9178"/>
                </a:solidFill>
                <a:latin typeface="Menlo" panose="020B0609030804020204" pitchFamily="49" charset="0"/>
              </a:rPr>
              <a:t>Reasoning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…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Q: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A: Let’s think step by step!</a:t>
            </a:r>
          </a:p>
          <a:p>
            <a:endParaRPr lang="en-GB" sz="9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endParaRPr lang="en-GB" sz="9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DE" sz="11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B50B46-D5E1-A113-01AC-EBF46C39792D}"/>
              </a:ext>
            </a:extLst>
          </p:cNvPr>
          <p:cNvSpPr txBox="1"/>
          <p:nvPr/>
        </p:nvSpPr>
        <p:spPr>
          <a:xfrm>
            <a:off x="4065373" y="292855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graphicFrame>
        <p:nvGraphicFramePr>
          <p:cNvPr id="26" name="Table 26">
            <a:extLst>
              <a:ext uri="{FF2B5EF4-FFF2-40B4-BE49-F238E27FC236}">
                <a16:creationId xmlns:a16="http://schemas.microsoft.com/office/drawing/2014/main" id="{75E33A57-DB8F-C5B7-0F2D-1575AE4DC1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564001"/>
              </p:ext>
            </p:extLst>
          </p:nvPr>
        </p:nvGraphicFramePr>
        <p:xfrm>
          <a:off x="864288" y="3789363"/>
          <a:ext cx="10512425" cy="123454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67775">
                  <a:extLst>
                    <a:ext uri="{9D8B030D-6E8A-4147-A177-3AD203B41FA5}">
                      <a16:colId xmlns:a16="http://schemas.microsoft.com/office/drawing/2014/main" val="1301624438"/>
                    </a:ext>
                  </a:extLst>
                </a:gridCol>
                <a:gridCol w="2311868">
                  <a:extLst>
                    <a:ext uri="{9D8B030D-6E8A-4147-A177-3AD203B41FA5}">
                      <a16:colId xmlns:a16="http://schemas.microsoft.com/office/drawing/2014/main" val="1220160376"/>
                    </a:ext>
                  </a:extLst>
                </a:gridCol>
                <a:gridCol w="1540750">
                  <a:extLst>
                    <a:ext uri="{9D8B030D-6E8A-4147-A177-3AD203B41FA5}">
                      <a16:colId xmlns:a16="http://schemas.microsoft.com/office/drawing/2014/main" val="2586736192"/>
                    </a:ext>
                  </a:extLst>
                </a:gridCol>
                <a:gridCol w="2289547">
                  <a:extLst>
                    <a:ext uri="{9D8B030D-6E8A-4147-A177-3AD203B41FA5}">
                      <a16:colId xmlns:a16="http://schemas.microsoft.com/office/drawing/2014/main" val="2983772812"/>
                    </a:ext>
                  </a:extLst>
                </a:gridCol>
                <a:gridCol w="2102485">
                  <a:extLst>
                    <a:ext uri="{9D8B030D-6E8A-4147-A177-3AD203B41FA5}">
                      <a16:colId xmlns:a16="http://schemas.microsoft.com/office/drawing/2014/main" val="2582006826"/>
                    </a:ext>
                  </a:extLst>
                </a:gridCol>
              </a:tblGrid>
              <a:tr h="655423">
                <a:tc>
                  <a:txBody>
                    <a:bodyPr/>
                    <a:lstStyle/>
                    <a:p>
                      <a:r>
                        <a:rPr lang="en-DE" sz="1600"/>
                        <a:t>Accuracy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Precision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Recall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F1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Confusion Matrix</a:t>
                      </a:r>
                      <a:endParaRPr lang="en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459868"/>
                  </a:ext>
                </a:extLst>
              </a:tr>
              <a:tr h="548958">
                <a:tc>
                  <a:txBody>
                    <a:bodyPr/>
                    <a:lstStyle/>
                    <a:p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3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5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6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363   2]</a:t>
                      </a:r>
                    </a:p>
                    <a:p>
                      <a:pPr marL="0" algn="l" defTabSz="914400" rtl="0" eaLnBrk="1" latinLnBrk="0" hangingPunct="1"/>
                      <a:r>
                        <a:rPr lang="en-D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14  26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16710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ED20F4B-1120-4AFB-58EC-2E41923D4A58}"/>
              </a:ext>
            </a:extLst>
          </p:cNvPr>
          <p:cNvSpPr txBox="1"/>
          <p:nvPr/>
        </p:nvSpPr>
        <p:spPr>
          <a:xfrm>
            <a:off x="849838" y="5347095"/>
            <a:ext cx="67617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è"/>
            </a:pPr>
            <a:r>
              <a:rPr lang="de-DE" dirty="0" err="1"/>
              <a:t>Improved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against</a:t>
            </a:r>
            <a:r>
              <a:rPr lang="de-DE" dirty="0"/>
              <a:t> </a:t>
            </a:r>
            <a:r>
              <a:rPr lang="de-DE" dirty="0" err="1"/>
              <a:t>baseline</a:t>
            </a:r>
            <a:r>
              <a:rPr lang="de-DE" dirty="0"/>
              <a:t> prompt (F1 0.76 </a:t>
            </a:r>
            <a:r>
              <a:rPr lang="de-DE" dirty="0" err="1"/>
              <a:t>vs</a:t>
            </a:r>
            <a:r>
              <a:rPr lang="de-DE" dirty="0"/>
              <a:t> 0.69)</a:t>
            </a:r>
            <a:endParaRPr lang="en-DE" dirty="0"/>
          </a:p>
          <a:p>
            <a:pPr marL="285750" indent="-285750">
              <a:buFont typeface="Wingdings" pitchFamily="2" charset="2"/>
              <a:buChar char="è"/>
            </a:pP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913658-9903-6BFD-1602-1F72FD3EBFC9}"/>
              </a:ext>
            </a:extLst>
          </p:cNvPr>
          <p:cNvSpPr txBox="1"/>
          <p:nvPr/>
        </p:nvSpPr>
        <p:spPr>
          <a:xfrm>
            <a:off x="839788" y="2903683"/>
            <a:ext cx="21011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Eval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3.5-turbo-0301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endParaRPr lang="en-GB" sz="1200" dirty="0"/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45E928-1CDD-8BAC-D492-5742EAA7EE9F}"/>
              </a:ext>
            </a:extLst>
          </p:cNvPr>
          <p:cNvSpPr txBox="1"/>
          <p:nvPr/>
        </p:nvSpPr>
        <p:spPr>
          <a:xfrm>
            <a:off x="2857774" y="2903683"/>
            <a:ext cx="473398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Decide if this answer corresponds to two products matching or not.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lease answer with "match" or "no match".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Answer: {</a:t>
            </a:r>
            <a:r>
              <a:rPr lang="en-GB" sz="900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hain_of_thought_reasoning</a:t>
            </a:r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36862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1E552-0305-DA9E-40D4-B562686D8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Auto-few-shot-Co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3C144B-8FBC-6E1F-C8A7-8574FDC0A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lang="en-DE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2B14DA8-3D3B-251C-CE01-CBA84528A1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2491" y="1089024"/>
            <a:ext cx="10511308" cy="360363"/>
          </a:xfrm>
        </p:spPr>
        <p:txBody>
          <a:bodyPr/>
          <a:lstStyle/>
          <a:p>
            <a:r>
              <a:rPr lang="en-GB" sz="1200" b="1" dirty="0">
                <a:effectLst/>
              </a:rPr>
              <a:t>Reasoning is generated by </a:t>
            </a:r>
            <a:r>
              <a:rPr lang="en-GB" sz="1200" b="1" dirty="0"/>
              <a:t>GPT 3.5-turbo-0301 through Zero-Shot Prompting</a:t>
            </a:r>
            <a:endParaRPr lang="en-GB" sz="1200" b="1" dirty="0">
              <a:effectLst/>
            </a:endParaRPr>
          </a:p>
          <a:p>
            <a:r>
              <a:rPr lang="en-GB" sz="1200" b="1" dirty="0">
                <a:effectLst/>
              </a:rPr>
              <a:t>Dataset</a:t>
            </a:r>
            <a:r>
              <a:rPr lang="en-GB" sz="1200" b="0" dirty="0">
                <a:effectLst/>
              </a:rPr>
              <a:t>: Amazon-Walmart</a:t>
            </a:r>
            <a:endParaRPr lang="en-GB" sz="1600" b="0" dirty="0">
              <a:effectLst/>
            </a:endParaRPr>
          </a:p>
          <a:p>
            <a:endParaRPr lang="en-DE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03499C-5067-E9F6-D944-B3E0EECA285C}"/>
              </a:ext>
            </a:extLst>
          </p:cNvPr>
          <p:cNvSpPr txBox="1"/>
          <p:nvPr/>
        </p:nvSpPr>
        <p:spPr>
          <a:xfrm>
            <a:off x="839788" y="1482407"/>
            <a:ext cx="21011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CoT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3.5-turbo-0301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r>
              <a:rPr lang="en-GB" sz="1200" dirty="0"/>
              <a:t>2 examples</a:t>
            </a:r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C1E269-CD3D-878E-75AF-4EE39B29C145}"/>
              </a:ext>
            </a:extLst>
          </p:cNvPr>
          <p:cNvSpPr txBox="1"/>
          <p:nvPr/>
        </p:nvSpPr>
        <p:spPr>
          <a:xfrm>
            <a:off x="444843" y="57953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C41CD60-6B4C-9CBA-379A-6678CA8DD9BB}"/>
              </a:ext>
            </a:extLst>
          </p:cNvPr>
          <p:cNvSpPr txBox="1"/>
          <p:nvPr/>
        </p:nvSpPr>
        <p:spPr>
          <a:xfrm>
            <a:off x="2857774" y="1482407"/>
            <a:ext cx="4802918" cy="19236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Auto-generated few shot </a:t>
            </a:r>
            <a:r>
              <a:rPr lang="en-GB" sz="900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oT</a:t>
            </a:r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-Prompt with two examples in the format:</a:t>
            </a: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Q: Are the following two products the same?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Product 1: …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Product 2: …</a:t>
            </a:r>
            <a:endParaRPr lang="en-GB" sz="9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A: </a:t>
            </a:r>
            <a:r>
              <a:rPr lang="en-GB" sz="900" i="1" dirty="0">
                <a:solidFill>
                  <a:srgbClr val="CE9178"/>
                </a:solidFill>
                <a:latin typeface="Menlo" panose="020B0609030804020204" pitchFamily="49" charset="0"/>
              </a:rPr>
              <a:t>Reasoning</a:t>
            </a:r>
          </a:p>
          <a:p>
            <a:r>
              <a:rPr lang="en-GB" sz="900" i="1" dirty="0">
                <a:solidFill>
                  <a:srgbClr val="CE9178"/>
                </a:solidFill>
                <a:latin typeface="Menlo" panose="020B0609030804020204" pitchFamily="49" charset="0"/>
              </a:rPr>
              <a:t>Result (Match or No Match)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…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Q: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A: Let’s think step by step!</a:t>
            </a:r>
          </a:p>
          <a:p>
            <a:endParaRPr lang="en-GB" sz="9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endParaRPr lang="en-GB" sz="9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DE" sz="11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B50B46-D5E1-A113-01AC-EBF46C39792D}"/>
              </a:ext>
            </a:extLst>
          </p:cNvPr>
          <p:cNvSpPr txBox="1"/>
          <p:nvPr/>
        </p:nvSpPr>
        <p:spPr>
          <a:xfrm>
            <a:off x="4065373" y="292855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graphicFrame>
        <p:nvGraphicFramePr>
          <p:cNvPr id="26" name="Table 26">
            <a:extLst>
              <a:ext uri="{FF2B5EF4-FFF2-40B4-BE49-F238E27FC236}">
                <a16:creationId xmlns:a16="http://schemas.microsoft.com/office/drawing/2014/main" id="{75E33A57-DB8F-C5B7-0F2D-1575AE4DC1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2181111"/>
              </p:ext>
            </p:extLst>
          </p:nvPr>
        </p:nvGraphicFramePr>
        <p:xfrm>
          <a:off x="864288" y="3789363"/>
          <a:ext cx="10512425" cy="123454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67775">
                  <a:extLst>
                    <a:ext uri="{9D8B030D-6E8A-4147-A177-3AD203B41FA5}">
                      <a16:colId xmlns:a16="http://schemas.microsoft.com/office/drawing/2014/main" val="1301624438"/>
                    </a:ext>
                  </a:extLst>
                </a:gridCol>
                <a:gridCol w="2311868">
                  <a:extLst>
                    <a:ext uri="{9D8B030D-6E8A-4147-A177-3AD203B41FA5}">
                      <a16:colId xmlns:a16="http://schemas.microsoft.com/office/drawing/2014/main" val="1220160376"/>
                    </a:ext>
                  </a:extLst>
                </a:gridCol>
                <a:gridCol w="1540750">
                  <a:extLst>
                    <a:ext uri="{9D8B030D-6E8A-4147-A177-3AD203B41FA5}">
                      <a16:colId xmlns:a16="http://schemas.microsoft.com/office/drawing/2014/main" val="2586736192"/>
                    </a:ext>
                  </a:extLst>
                </a:gridCol>
                <a:gridCol w="2289547">
                  <a:extLst>
                    <a:ext uri="{9D8B030D-6E8A-4147-A177-3AD203B41FA5}">
                      <a16:colId xmlns:a16="http://schemas.microsoft.com/office/drawing/2014/main" val="2983772812"/>
                    </a:ext>
                  </a:extLst>
                </a:gridCol>
                <a:gridCol w="2102485">
                  <a:extLst>
                    <a:ext uri="{9D8B030D-6E8A-4147-A177-3AD203B41FA5}">
                      <a16:colId xmlns:a16="http://schemas.microsoft.com/office/drawing/2014/main" val="2582006826"/>
                    </a:ext>
                  </a:extLst>
                </a:gridCol>
              </a:tblGrid>
              <a:tr h="655423">
                <a:tc>
                  <a:txBody>
                    <a:bodyPr/>
                    <a:lstStyle/>
                    <a:p>
                      <a:r>
                        <a:rPr lang="en-DE" sz="1600"/>
                        <a:t>Accuracy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Precision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Recall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F1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Confusion Matrix</a:t>
                      </a:r>
                      <a:endParaRPr lang="en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459868"/>
                  </a:ext>
                </a:extLst>
              </a:tr>
              <a:tr h="548958">
                <a:tc>
                  <a:txBody>
                    <a:bodyPr/>
                    <a:lstStyle/>
                    <a:p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1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5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363   2]</a:t>
                      </a:r>
                    </a:p>
                    <a:p>
                      <a:pPr marL="0" algn="l" defTabSz="914400" rtl="0" eaLnBrk="1" latinLnBrk="0" hangingPunct="1"/>
                      <a:r>
                        <a:rPr lang="en-D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20  20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16710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ED20F4B-1120-4AFB-58EC-2E41923D4A58}"/>
              </a:ext>
            </a:extLst>
          </p:cNvPr>
          <p:cNvSpPr txBox="1"/>
          <p:nvPr/>
        </p:nvSpPr>
        <p:spPr>
          <a:xfrm>
            <a:off x="849838" y="5347095"/>
            <a:ext cx="45431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è"/>
            </a:pPr>
            <a:r>
              <a:rPr lang="de-DE" dirty="0" err="1"/>
              <a:t>Worse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Baseline Prompt</a:t>
            </a:r>
            <a:endParaRPr lang="en-DE" dirty="0"/>
          </a:p>
          <a:p>
            <a:pPr marL="285750" indent="-285750">
              <a:buFont typeface="Wingdings" pitchFamily="2" charset="2"/>
              <a:buChar char="è"/>
            </a:pP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913658-9903-6BFD-1602-1F72FD3EBFC9}"/>
              </a:ext>
            </a:extLst>
          </p:cNvPr>
          <p:cNvSpPr txBox="1"/>
          <p:nvPr/>
        </p:nvSpPr>
        <p:spPr>
          <a:xfrm>
            <a:off x="839788" y="2903683"/>
            <a:ext cx="210112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Eval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3.5-turbo-0301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45E928-1CDD-8BAC-D492-5742EAA7EE9F}"/>
              </a:ext>
            </a:extLst>
          </p:cNvPr>
          <p:cNvSpPr txBox="1"/>
          <p:nvPr/>
        </p:nvSpPr>
        <p:spPr>
          <a:xfrm>
            <a:off x="2857774" y="2903683"/>
            <a:ext cx="473398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Decide if this answer corresponds to two products matching or not.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lease answer with "match" or "no match".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Answer: {</a:t>
            </a:r>
            <a:r>
              <a:rPr lang="en-GB" sz="900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hain_of_thought_reasoning</a:t>
            </a:r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60870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C28E6F-544C-ED94-855B-32352B358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6000" b="0" dirty="0">
                <a:effectLst/>
                <a:latin typeface="+mj-lt"/>
              </a:rPr>
              <a:t>Amazon-Google Dataset </a:t>
            </a:r>
            <a:br>
              <a:rPr lang="en-GB" dirty="0">
                <a:latin typeface="+mj-lt"/>
              </a:rPr>
            </a:b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0D56F3-E388-A6FD-21DD-0643BD55BA32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844550" y="4564063"/>
            <a:ext cx="10507663" cy="1500187"/>
          </a:xfrm>
          <a:prstGeom prst="rect">
            <a:avLst/>
          </a:prstGeom>
        </p:spPr>
        <p:txBody>
          <a:bodyPr/>
          <a:lstStyle/>
          <a:p>
            <a:endParaRPr lang="en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03D2CC-85CB-C6EC-6C36-7F52AF14AC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9739140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1E552-0305-DA9E-40D4-B562686D8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Manual-few-shot-Co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3C144B-8FBC-6E1F-C8A7-8574FDC0A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lang="en-DE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2B14DA8-3D3B-251C-CE01-CBA84528A1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2491" y="1089024"/>
            <a:ext cx="10511308" cy="360363"/>
          </a:xfrm>
        </p:spPr>
        <p:txBody>
          <a:bodyPr/>
          <a:lstStyle/>
          <a:p>
            <a:r>
              <a:rPr lang="en-GB" sz="1200" b="1" dirty="0">
                <a:effectLst/>
              </a:rPr>
              <a:t>Dataset</a:t>
            </a:r>
            <a:r>
              <a:rPr lang="en-GB" sz="1200" b="0" dirty="0">
                <a:effectLst/>
              </a:rPr>
              <a:t>: Amazon-Google</a:t>
            </a:r>
            <a:endParaRPr lang="en-GB" sz="1600" b="0" dirty="0">
              <a:effectLst/>
            </a:endParaRPr>
          </a:p>
          <a:p>
            <a:endParaRPr lang="en-DE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03499C-5067-E9F6-D944-B3E0EECA285C}"/>
              </a:ext>
            </a:extLst>
          </p:cNvPr>
          <p:cNvSpPr txBox="1"/>
          <p:nvPr/>
        </p:nvSpPr>
        <p:spPr>
          <a:xfrm>
            <a:off x="839788" y="1482407"/>
            <a:ext cx="21011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CoT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3.5-turbo-0301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r>
              <a:rPr lang="en-GB" sz="1200" dirty="0"/>
              <a:t>2 examples</a:t>
            </a:r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C1E269-CD3D-878E-75AF-4EE39B29C145}"/>
              </a:ext>
            </a:extLst>
          </p:cNvPr>
          <p:cNvSpPr txBox="1"/>
          <p:nvPr/>
        </p:nvSpPr>
        <p:spPr>
          <a:xfrm>
            <a:off x="444843" y="57953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C41CD60-6B4C-9CBA-379A-6678CA8DD9BB}"/>
              </a:ext>
            </a:extLst>
          </p:cNvPr>
          <p:cNvSpPr txBox="1"/>
          <p:nvPr/>
        </p:nvSpPr>
        <p:spPr>
          <a:xfrm>
            <a:off x="2857774" y="1482407"/>
            <a:ext cx="4665060" cy="18004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Self-crafted few shot </a:t>
            </a:r>
            <a:r>
              <a:rPr lang="en-GB" sz="900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oT</a:t>
            </a:r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-Prompt with two examples in the format:</a:t>
            </a: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Q: Are the following two products the same?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Product 1: …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Product 2: …</a:t>
            </a:r>
            <a:endParaRPr lang="en-GB" sz="9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A: </a:t>
            </a:r>
            <a:r>
              <a:rPr lang="en-GB" sz="900" i="1" dirty="0">
                <a:solidFill>
                  <a:srgbClr val="CE9178"/>
                </a:solidFill>
                <a:latin typeface="Menlo" panose="020B0609030804020204" pitchFamily="49" charset="0"/>
              </a:rPr>
              <a:t>Reasoning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…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Q: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A: Let’s think step by step!</a:t>
            </a:r>
          </a:p>
          <a:p>
            <a:endParaRPr lang="en-GB" sz="9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endParaRPr lang="en-GB" sz="9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DE" sz="11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B50B46-D5E1-A113-01AC-EBF46C39792D}"/>
              </a:ext>
            </a:extLst>
          </p:cNvPr>
          <p:cNvSpPr txBox="1"/>
          <p:nvPr/>
        </p:nvSpPr>
        <p:spPr>
          <a:xfrm>
            <a:off x="4065373" y="292855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graphicFrame>
        <p:nvGraphicFramePr>
          <p:cNvPr id="26" name="Table 26">
            <a:extLst>
              <a:ext uri="{FF2B5EF4-FFF2-40B4-BE49-F238E27FC236}">
                <a16:creationId xmlns:a16="http://schemas.microsoft.com/office/drawing/2014/main" id="{75E33A57-DB8F-C5B7-0F2D-1575AE4DC1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0582996"/>
              </p:ext>
            </p:extLst>
          </p:nvPr>
        </p:nvGraphicFramePr>
        <p:xfrm>
          <a:off x="864288" y="3789363"/>
          <a:ext cx="10512425" cy="123454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67775">
                  <a:extLst>
                    <a:ext uri="{9D8B030D-6E8A-4147-A177-3AD203B41FA5}">
                      <a16:colId xmlns:a16="http://schemas.microsoft.com/office/drawing/2014/main" val="1301624438"/>
                    </a:ext>
                  </a:extLst>
                </a:gridCol>
                <a:gridCol w="2311868">
                  <a:extLst>
                    <a:ext uri="{9D8B030D-6E8A-4147-A177-3AD203B41FA5}">
                      <a16:colId xmlns:a16="http://schemas.microsoft.com/office/drawing/2014/main" val="1220160376"/>
                    </a:ext>
                  </a:extLst>
                </a:gridCol>
                <a:gridCol w="1540750">
                  <a:extLst>
                    <a:ext uri="{9D8B030D-6E8A-4147-A177-3AD203B41FA5}">
                      <a16:colId xmlns:a16="http://schemas.microsoft.com/office/drawing/2014/main" val="2586736192"/>
                    </a:ext>
                  </a:extLst>
                </a:gridCol>
                <a:gridCol w="2289547">
                  <a:extLst>
                    <a:ext uri="{9D8B030D-6E8A-4147-A177-3AD203B41FA5}">
                      <a16:colId xmlns:a16="http://schemas.microsoft.com/office/drawing/2014/main" val="2983772812"/>
                    </a:ext>
                  </a:extLst>
                </a:gridCol>
                <a:gridCol w="2102485">
                  <a:extLst>
                    <a:ext uri="{9D8B030D-6E8A-4147-A177-3AD203B41FA5}">
                      <a16:colId xmlns:a16="http://schemas.microsoft.com/office/drawing/2014/main" val="2582006826"/>
                    </a:ext>
                  </a:extLst>
                </a:gridCol>
              </a:tblGrid>
              <a:tr h="655423">
                <a:tc>
                  <a:txBody>
                    <a:bodyPr/>
                    <a:lstStyle/>
                    <a:p>
                      <a:r>
                        <a:rPr lang="en-DE" sz="1600"/>
                        <a:t>Accuracy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Precision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Recall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F1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Confusion Matrix</a:t>
                      </a:r>
                      <a:endParaRPr lang="en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459868"/>
                  </a:ext>
                </a:extLst>
              </a:tr>
              <a:tr h="548958">
                <a:tc>
                  <a:txBody>
                    <a:bodyPr/>
                    <a:lstStyle/>
                    <a:p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38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5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311  49]</a:t>
                      </a:r>
                    </a:p>
                    <a:p>
                      <a:pPr marL="0" algn="l" defTabSz="914400" rtl="0" eaLnBrk="1" latinLnBrk="0" hangingPunct="1"/>
                      <a:r>
                        <a:rPr lang="en-D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10  30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16710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ED20F4B-1120-4AFB-58EC-2E41923D4A58}"/>
              </a:ext>
            </a:extLst>
          </p:cNvPr>
          <p:cNvSpPr txBox="1"/>
          <p:nvPr/>
        </p:nvSpPr>
        <p:spPr>
          <a:xfrm>
            <a:off x="849838" y="5347095"/>
            <a:ext cx="711752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è"/>
            </a:pPr>
            <a:r>
              <a:rPr lang="de-DE" dirty="0"/>
              <a:t>Low Precision</a:t>
            </a:r>
          </a:p>
          <a:p>
            <a:pPr marL="285750" indent="-285750">
              <a:buFont typeface="Wingdings" pitchFamily="2" charset="2"/>
              <a:buChar char="è"/>
            </a:pPr>
            <a:r>
              <a:rPr lang="de-DE" dirty="0" err="1"/>
              <a:t>Probably</a:t>
            </a:r>
            <a:r>
              <a:rPr lang="de-DE" dirty="0"/>
              <a:t> </a:t>
            </a:r>
            <a:r>
              <a:rPr lang="de-DE" dirty="0" err="1"/>
              <a:t>becaus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issing</a:t>
            </a:r>
            <a:r>
              <a:rPr lang="de-DE" dirty="0"/>
              <a:t> </a:t>
            </a:r>
            <a:r>
              <a:rPr lang="de-DE" dirty="0" err="1"/>
              <a:t>descript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</a:t>
            </a:r>
            <a:r>
              <a:rPr lang="de-DE" dirty="0" err="1"/>
              <a:t>comparison</a:t>
            </a:r>
            <a:r>
              <a:rPr lang="de-DE" dirty="0"/>
              <a:t> </a:t>
            </a:r>
            <a:r>
              <a:rPr lang="de-DE" dirty="0" err="1"/>
              <a:t>parameter</a:t>
            </a:r>
            <a:endParaRPr lang="en-DE" dirty="0"/>
          </a:p>
          <a:p>
            <a:pPr marL="285750" indent="-285750">
              <a:buFont typeface="Wingdings" pitchFamily="2" charset="2"/>
              <a:buChar char="è"/>
            </a:pP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913658-9903-6BFD-1602-1F72FD3EBFC9}"/>
              </a:ext>
            </a:extLst>
          </p:cNvPr>
          <p:cNvSpPr txBox="1"/>
          <p:nvPr/>
        </p:nvSpPr>
        <p:spPr>
          <a:xfrm>
            <a:off x="839788" y="2903683"/>
            <a:ext cx="21011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Eval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3.5-turbo-0301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endParaRPr lang="en-GB" sz="1200" dirty="0"/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45E928-1CDD-8BAC-D492-5742EAA7EE9F}"/>
              </a:ext>
            </a:extLst>
          </p:cNvPr>
          <p:cNvSpPr txBox="1"/>
          <p:nvPr/>
        </p:nvSpPr>
        <p:spPr>
          <a:xfrm>
            <a:off x="2857774" y="2903683"/>
            <a:ext cx="473398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Decide if this answer corresponds to two products matching or not.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lease answer with "match" or "no match".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Answer: {</a:t>
            </a:r>
            <a:r>
              <a:rPr lang="en-GB" sz="900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hain_of_thought_reasoning</a:t>
            </a:r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80913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C28E6F-544C-ED94-855B-32352B358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GB" sz="6000" b="0" dirty="0">
                <a:effectLst/>
                <a:latin typeface="+mj-lt"/>
              </a:rPr>
            </a:br>
            <a:r>
              <a:rPr lang="en-GB" sz="6000" b="0" dirty="0">
                <a:effectLst/>
                <a:latin typeface="+mj-lt"/>
              </a:rPr>
              <a:t>Llama</a:t>
            </a:r>
            <a:br>
              <a:rPr lang="en-GB" sz="6000" b="0" dirty="0">
                <a:effectLst/>
                <a:latin typeface="+mj-lt"/>
              </a:rPr>
            </a:b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0D56F3-E388-A6FD-21DD-0643BD55BA32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844550" y="4564063"/>
            <a:ext cx="10507663" cy="1500187"/>
          </a:xfrm>
          <a:prstGeom prst="rect">
            <a:avLst/>
          </a:prstGeom>
        </p:spPr>
        <p:txBody>
          <a:bodyPr/>
          <a:lstStyle/>
          <a:p>
            <a:endParaRPr lang="en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03D2CC-85CB-C6EC-6C36-7F52AF14AC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6180400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1E552-0305-DA9E-40D4-B562686D8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Baseline Promp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3C144B-8FBC-6E1F-C8A7-8574FDC0A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lang="en-DE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2B14DA8-3D3B-251C-CE01-CBA84528A1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2491" y="1089024"/>
            <a:ext cx="10511308" cy="360363"/>
          </a:xfrm>
        </p:spPr>
        <p:txBody>
          <a:bodyPr/>
          <a:lstStyle/>
          <a:p>
            <a:r>
              <a:rPr lang="en-GB" sz="1200" b="1" dirty="0">
                <a:effectLst/>
              </a:rPr>
              <a:t>Dataset</a:t>
            </a:r>
            <a:r>
              <a:rPr lang="en-GB" sz="1200" b="0" dirty="0">
                <a:effectLst/>
              </a:rPr>
              <a:t>: WDC</a:t>
            </a:r>
            <a:endParaRPr lang="en-GB" sz="1600" b="0" dirty="0">
              <a:effectLst/>
            </a:endParaRPr>
          </a:p>
          <a:p>
            <a:endParaRPr lang="en-DE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03499C-5067-E9F6-D944-B3E0EECA285C}"/>
              </a:ext>
            </a:extLst>
          </p:cNvPr>
          <p:cNvSpPr txBox="1"/>
          <p:nvPr/>
        </p:nvSpPr>
        <p:spPr>
          <a:xfrm>
            <a:off x="842380" y="1482407"/>
            <a:ext cx="210112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Llama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C1E269-CD3D-878E-75AF-4EE39B29C145}"/>
              </a:ext>
            </a:extLst>
          </p:cNvPr>
          <p:cNvSpPr txBox="1"/>
          <p:nvPr/>
        </p:nvSpPr>
        <p:spPr>
          <a:xfrm>
            <a:off x="444843" y="57953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C41CD60-6B4C-9CBA-379A-6678CA8DD9BB}"/>
              </a:ext>
            </a:extLst>
          </p:cNvPr>
          <p:cNvSpPr txBox="1"/>
          <p:nvPr/>
        </p:nvSpPr>
        <p:spPr>
          <a:xfrm>
            <a:off x="2857774" y="1482407"/>
            <a:ext cx="687880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ould you please tell me if the following two products are the same one?</a:t>
            </a:r>
            <a:endParaRPr lang="en-GB" sz="12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2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oduct 1: {p1}</a:t>
            </a:r>
            <a:endParaRPr lang="en-GB" sz="12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2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oduct 2: {p2}</a:t>
            </a:r>
            <a:endParaRPr lang="en-GB" sz="12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br>
              <a:rPr lang="en-GB" sz="12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</a:br>
            <a:r>
              <a:rPr lang="en-GB" sz="12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lease answer my question only with True or False.</a:t>
            </a:r>
            <a:endParaRPr lang="en-GB" sz="12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B50B46-D5E1-A113-01AC-EBF46C39792D}"/>
              </a:ext>
            </a:extLst>
          </p:cNvPr>
          <p:cNvSpPr txBox="1"/>
          <p:nvPr/>
        </p:nvSpPr>
        <p:spPr>
          <a:xfrm>
            <a:off x="4065373" y="292855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92AA21C-CCBC-A4ED-7BB2-81D34DC9F53F}"/>
              </a:ext>
            </a:extLst>
          </p:cNvPr>
          <p:cNvCxnSpPr/>
          <p:nvPr/>
        </p:nvCxnSpPr>
        <p:spPr>
          <a:xfrm>
            <a:off x="864288" y="3280231"/>
            <a:ext cx="105098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6" name="Table 26">
            <a:extLst>
              <a:ext uri="{FF2B5EF4-FFF2-40B4-BE49-F238E27FC236}">
                <a16:creationId xmlns:a16="http://schemas.microsoft.com/office/drawing/2014/main" id="{75E33A57-DB8F-C5B7-0F2D-1575AE4DC1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1816675"/>
              </p:ext>
            </p:extLst>
          </p:nvPr>
        </p:nvGraphicFramePr>
        <p:xfrm>
          <a:off x="861695" y="3789363"/>
          <a:ext cx="10512425" cy="123454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67775">
                  <a:extLst>
                    <a:ext uri="{9D8B030D-6E8A-4147-A177-3AD203B41FA5}">
                      <a16:colId xmlns:a16="http://schemas.microsoft.com/office/drawing/2014/main" val="1301624438"/>
                    </a:ext>
                  </a:extLst>
                </a:gridCol>
                <a:gridCol w="2311868">
                  <a:extLst>
                    <a:ext uri="{9D8B030D-6E8A-4147-A177-3AD203B41FA5}">
                      <a16:colId xmlns:a16="http://schemas.microsoft.com/office/drawing/2014/main" val="1220160376"/>
                    </a:ext>
                  </a:extLst>
                </a:gridCol>
                <a:gridCol w="1540750">
                  <a:extLst>
                    <a:ext uri="{9D8B030D-6E8A-4147-A177-3AD203B41FA5}">
                      <a16:colId xmlns:a16="http://schemas.microsoft.com/office/drawing/2014/main" val="2586736192"/>
                    </a:ext>
                  </a:extLst>
                </a:gridCol>
                <a:gridCol w="2289547">
                  <a:extLst>
                    <a:ext uri="{9D8B030D-6E8A-4147-A177-3AD203B41FA5}">
                      <a16:colId xmlns:a16="http://schemas.microsoft.com/office/drawing/2014/main" val="2983772812"/>
                    </a:ext>
                  </a:extLst>
                </a:gridCol>
                <a:gridCol w="2102485">
                  <a:extLst>
                    <a:ext uri="{9D8B030D-6E8A-4147-A177-3AD203B41FA5}">
                      <a16:colId xmlns:a16="http://schemas.microsoft.com/office/drawing/2014/main" val="2582006826"/>
                    </a:ext>
                  </a:extLst>
                </a:gridCol>
              </a:tblGrid>
              <a:tr h="655423">
                <a:tc>
                  <a:txBody>
                    <a:bodyPr/>
                    <a:lstStyle/>
                    <a:p>
                      <a:r>
                        <a:rPr lang="en-DE" sz="1600"/>
                        <a:t>Accuracy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Precision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Recall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F1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Confusion Matrix</a:t>
                      </a:r>
                      <a:endParaRPr lang="en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459868"/>
                  </a:ext>
                </a:extLst>
              </a:tr>
              <a:tr h="548958">
                <a:tc>
                  <a:txBody>
                    <a:bodyPr/>
                    <a:lstStyle/>
                    <a:p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7</a:t>
                      </a:r>
                    </a:p>
                    <a:p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31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4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45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149  47]</a:t>
                      </a:r>
                    </a:p>
                    <a:p>
                      <a:pPr marL="0" algn="l" defTabSz="914400" rtl="0" eaLnBrk="1" latinLnBrk="0" hangingPunct="1"/>
                      <a:r>
                        <a:rPr lang="en-GB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  4  21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167106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9494189F-3208-1E4C-0C6E-C4F48EDE72FD}"/>
              </a:ext>
            </a:extLst>
          </p:cNvPr>
          <p:cNvSpPr txBox="1"/>
          <p:nvPr/>
        </p:nvSpPr>
        <p:spPr>
          <a:xfrm>
            <a:off x="849838" y="5347095"/>
            <a:ext cx="180709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è"/>
            </a:pPr>
            <a:r>
              <a:rPr lang="de-DE" dirty="0"/>
              <a:t>Low Precision</a:t>
            </a:r>
          </a:p>
          <a:p>
            <a:endParaRPr lang="en-DE" dirty="0"/>
          </a:p>
          <a:p>
            <a:pPr marL="285750" indent="-285750">
              <a:buFont typeface="Wingdings" pitchFamily="2" charset="2"/>
              <a:buChar char="è"/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9381107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1E552-0305-DA9E-40D4-B562686D8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Next Steps…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3C144B-8FBC-6E1F-C8A7-8574FDC0A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lang="en-DE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2B14DA8-3D3B-251C-CE01-CBA84528A1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2491" y="1089024"/>
            <a:ext cx="10511308" cy="360363"/>
          </a:xfrm>
        </p:spPr>
        <p:txBody>
          <a:bodyPr/>
          <a:lstStyle/>
          <a:p>
            <a:endParaRPr lang="en-DE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03499C-5067-E9F6-D944-B3E0EECA285C}"/>
              </a:ext>
            </a:extLst>
          </p:cNvPr>
          <p:cNvSpPr txBox="1"/>
          <p:nvPr/>
        </p:nvSpPr>
        <p:spPr>
          <a:xfrm>
            <a:off x="842380" y="1482407"/>
            <a:ext cx="10509832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dirty="0">
                <a:latin typeface="+mj-lt"/>
              </a:rPr>
              <a:t>More experiments on </a:t>
            </a:r>
            <a:r>
              <a:rPr lang="en-GB" sz="1800" b="0" dirty="0">
                <a:effectLst/>
                <a:latin typeface="+mj-lt"/>
              </a:rPr>
              <a:t>Amazon-Google Datase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800" b="0" dirty="0">
              <a:effectLst/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+mj-lt"/>
              </a:rPr>
              <a:t>More experiments with Lla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+mj-lt"/>
              </a:rPr>
              <a:t>Clustering of Auto-</a:t>
            </a:r>
            <a:r>
              <a:rPr lang="en-GB" dirty="0" err="1">
                <a:latin typeface="+mj-lt"/>
              </a:rPr>
              <a:t>CoT</a:t>
            </a:r>
            <a:r>
              <a:rPr lang="en-GB" dirty="0">
                <a:latin typeface="+mj-lt"/>
              </a:rPr>
              <a:t> Reasoning (</a:t>
            </a:r>
            <a:r>
              <a:rPr lang="en-GB" dirty="0" err="1">
                <a:latin typeface="+mj-lt"/>
              </a:rPr>
              <a:t>AutoCoT</a:t>
            </a:r>
            <a:r>
              <a:rPr lang="en-GB" dirty="0">
                <a:latin typeface="+mj-lt"/>
              </a:rPr>
              <a:t>)</a:t>
            </a:r>
            <a:r>
              <a:rPr lang="en-GB" baseline="30000" dirty="0">
                <a:latin typeface="+mj-lt"/>
              </a:rPr>
              <a:t>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aseline="300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+mj-lt"/>
              </a:rPr>
              <a:t>More Reasoning Examples for </a:t>
            </a:r>
            <a:r>
              <a:rPr lang="en-GB" dirty="0" err="1">
                <a:latin typeface="+mj-lt"/>
              </a:rPr>
              <a:t>AutoCoT</a:t>
            </a:r>
            <a:endParaRPr lang="en-GB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+mj-lt"/>
              </a:rPr>
              <a:t>Specific prompt design to nudge higher accuracy/recall when they are specifically l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dirty="0">
              <a:latin typeface="+mj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C1E269-CD3D-878E-75AF-4EE39B29C145}"/>
              </a:ext>
            </a:extLst>
          </p:cNvPr>
          <p:cNvSpPr txBox="1"/>
          <p:nvPr/>
        </p:nvSpPr>
        <p:spPr>
          <a:xfrm>
            <a:off x="444843" y="57953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B50B46-D5E1-A113-01AC-EBF46C39792D}"/>
              </a:ext>
            </a:extLst>
          </p:cNvPr>
          <p:cNvSpPr txBox="1"/>
          <p:nvPr/>
        </p:nvSpPr>
        <p:spPr>
          <a:xfrm>
            <a:off x="4065373" y="292855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B267758-40D2-8604-9FBC-8B5E0124C808}"/>
              </a:ext>
            </a:extLst>
          </p:cNvPr>
          <p:cNvSpPr txBox="1"/>
          <p:nvPr/>
        </p:nvSpPr>
        <p:spPr>
          <a:xfrm>
            <a:off x="814388" y="6110121"/>
            <a:ext cx="2126456" cy="4634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baseline="30000" dirty="0"/>
              <a:t>1</a:t>
            </a:r>
            <a:r>
              <a:rPr lang="en-GB" sz="1100" dirty="0"/>
              <a:t>https://</a:t>
            </a:r>
            <a:r>
              <a:rPr lang="en-GB" sz="1100" dirty="0" err="1"/>
              <a:t>arxiv.org</a:t>
            </a:r>
            <a:r>
              <a:rPr lang="en-GB" sz="1100" dirty="0"/>
              <a:t>/abs/2210.03493</a:t>
            </a:r>
            <a:endParaRPr lang="en-DE" sz="1100" dirty="0"/>
          </a:p>
        </p:txBody>
      </p:sp>
    </p:spTree>
    <p:extLst>
      <p:ext uri="{BB962C8B-B14F-4D97-AF65-F5344CB8AC3E}">
        <p14:creationId xmlns:p14="http://schemas.microsoft.com/office/powerpoint/2010/main" val="29852930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1E552-0305-DA9E-40D4-B562686D8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DATASE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3C144B-8FBC-6E1F-C8A7-8574FDC0A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lang="en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30DDA1-05CF-AE91-20C4-67E3CA62DBF5}"/>
              </a:ext>
            </a:extLst>
          </p:cNvPr>
          <p:cNvSpPr txBox="1"/>
          <p:nvPr/>
        </p:nvSpPr>
        <p:spPr>
          <a:xfrm>
            <a:off x="842380" y="1464274"/>
            <a:ext cx="67197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800" b="0" dirty="0">
                <a:effectLst/>
                <a:latin typeface="+mj-lt"/>
              </a:rPr>
              <a:t>WDC</a:t>
            </a:r>
            <a:endParaRPr lang="en-GB" dirty="0">
              <a:latin typeface="+mj-lt"/>
            </a:endParaRPr>
          </a:p>
          <a:p>
            <a:endParaRPr lang="en-D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FFCF267-29DB-9AA6-ECC2-289F5DE9D130}"/>
              </a:ext>
            </a:extLst>
          </p:cNvPr>
          <p:cNvSpPr txBox="1"/>
          <p:nvPr/>
        </p:nvSpPr>
        <p:spPr>
          <a:xfrm>
            <a:off x="4713997" y="1464274"/>
            <a:ext cx="27988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b="0" dirty="0">
                <a:effectLst/>
                <a:latin typeface="+mj-lt"/>
              </a:rPr>
              <a:t>Amazon-Walmart Dataset </a:t>
            </a:r>
            <a:endParaRPr lang="en-GB" dirty="0">
              <a:latin typeface="+mj-lt"/>
            </a:endParaRPr>
          </a:p>
          <a:p>
            <a:endParaRPr lang="en-DE" dirty="0"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E7B08B-3407-714C-1D68-395BEBC83F21}"/>
              </a:ext>
            </a:extLst>
          </p:cNvPr>
          <p:cNvSpPr txBox="1"/>
          <p:nvPr/>
        </p:nvSpPr>
        <p:spPr>
          <a:xfrm>
            <a:off x="8725917" y="1464274"/>
            <a:ext cx="26262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b="0" dirty="0">
                <a:effectLst/>
                <a:latin typeface="+mj-lt"/>
              </a:rPr>
              <a:t>Amazon-Google Dataset </a:t>
            </a:r>
            <a:endParaRPr lang="en-GB" dirty="0">
              <a:latin typeface="+mj-lt"/>
            </a:endParaRPr>
          </a:p>
          <a:p>
            <a:endParaRPr lang="en-D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5CF79E-25BF-5682-8E69-918967129696}"/>
              </a:ext>
            </a:extLst>
          </p:cNvPr>
          <p:cNvSpPr txBox="1"/>
          <p:nvPr/>
        </p:nvSpPr>
        <p:spPr>
          <a:xfrm>
            <a:off x="839787" y="1824637"/>
            <a:ext cx="29140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/>
              <a:t>-220 items</a:t>
            </a:r>
          </a:p>
          <a:p>
            <a:r>
              <a:rPr lang="en-DE" dirty="0"/>
              <a:t>-Title &amp; product description</a:t>
            </a:r>
          </a:p>
          <a:p>
            <a:r>
              <a:rPr lang="en-DE" dirty="0"/>
              <a:t>-Base Dataset for first experiment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2B14DA8-3D3B-251C-CE01-CBA84528A1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2491" y="1089024"/>
            <a:ext cx="10511308" cy="360363"/>
          </a:xfrm>
        </p:spPr>
        <p:txBody>
          <a:bodyPr/>
          <a:lstStyle/>
          <a:p>
            <a:r>
              <a:rPr lang="en-DE" dirty="0"/>
              <a:t>All used Datets are downsampled versions of the original Datase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C0975C-CBF7-999E-15E8-928901B52B00}"/>
              </a:ext>
            </a:extLst>
          </p:cNvPr>
          <p:cNvSpPr txBox="1"/>
          <p:nvPr/>
        </p:nvSpPr>
        <p:spPr>
          <a:xfrm>
            <a:off x="8723324" y="1824637"/>
            <a:ext cx="20265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/>
              <a:t>-400 items</a:t>
            </a:r>
          </a:p>
          <a:p>
            <a:r>
              <a:rPr lang="en-DE" dirty="0"/>
              <a:t>-Title</a:t>
            </a:r>
          </a:p>
          <a:p>
            <a:endParaRPr lang="en-DE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ED1519-F94D-D717-663A-239B2605195F}"/>
              </a:ext>
            </a:extLst>
          </p:cNvPr>
          <p:cNvSpPr txBox="1"/>
          <p:nvPr/>
        </p:nvSpPr>
        <p:spPr>
          <a:xfrm>
            <a:off x="4713997" y="1824637"/>
            <a:ext cx="32212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/>
              <a:t>-405 items</a:t>
            </a:r>
          </a:p>
          <a:p>
            <a:r>
              <a:rPr lang="en-DE" dirty="0"/>
              <a:t>-Title &amp; product description</a:t>
            </a:r>
          </a:p>
          <a:p>
            <a:endParaRPr lang="en-DE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03499C-5067-E9F6-D944-B3E0EECA285C}"/>
              </a:ext>
            </a:extLst>
          </p:cNvPr>
          <p:cNvSpPr txBox="1"/>
          <p:nvPr/>
        </p:nvSpPr>
        <p:spPr>
          <a:xfrm>
            <a:off x="839787" y="3530628"/>
            <a:ext cx="21011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Baseline Prompt:</a:t>
            </a:r>
          </a:p>
          <a:p>
            <a:r>
              <a:rPr lang="en-GB" sz="1200" dirty="0"/>
              <a:t>GPT 3.5-turbo-0301</a:t>
            </a:r>
            <a:endParaRPr lang="en-GB" sz="1600" b="0" dirty="0">
              <a:effectLst/>
            </a:endParaRPr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C1E269-CD3D-878E-75AF-4EE39B29C145}"/>
              </a:ext>
            </a:extLst>
          </p:cNvPr>
          <p:cNvSpPr txBox="1"/>
          <p:nvPr/>
        </p:nvSpPr>
        <p:spPr>
          <a:xfrm>
            <a:off x="444843" y="57953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C41CD60-6B4C-9CBA-379A-6678CA8DD9BB}"/>
              </a:ext>
            </a:extLst>
          </p:cNvPr>
          <p:cNvSpPr txBox="1"/>
          <p:nvPr/>
        </p:nvSpPr>
        <p:spPr>
          <a:xfrm>
            <a:off x="2632142" y="3530628"/>
            <a:ext cx="6878806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ould you please tell me if the following two products are the same one?</a:t>
            </a:r>
            <a:endParaRPr lang="en-GB" sz="12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2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oduct 1: {p1}</a:t>
            </a:r>
            <a:endParaRPr lang="en-GB" sz="12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2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oduct 2: {p2}</a:t>
            </a:r>
            <a:endParaRPr lang="en-GB" sz="12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br>
              <a:rPr lang="en-GB" sz="12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</a:br>
            <a:r>
              <a:rPr lang="en-GB" sz="12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lease answer my question only with True or False.</a:t>
            </a:r>
            <a:endParaRPr lang="en-GB" sz="12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DE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B50B46-D5E1-A113-01AC-EBF46C39792D}"/>
              </a:ext>
            </a:extLst>
          </p:cNvPr>
          <p:cNvSpPr txBox="1"/>
          <p:nvPr/>
        </p:nvSpPr>
        <p:spPr>
          <a:xfrm>
            <a:off x="4065373" y="292855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92AA21C-CCBC-A4ED-7BB2-81D34DC9F53F}"/>
              </a:ext>
            </a:extLst>
          </p:cNvPr>
          <p:cNvCxnSpPr/>
          <p:nvPr/>
        </p:nvCxnSpPr>
        <p:spPr>
          <a:xfrm>
            <a:off x="864288" y="3280231"/>
            <a:ext cx="105098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6" name="Table 26">
            <a:extLst>
              <a:ext uri="{FF2B5EF4-FFF2-40B4-BE49-F238E27FC236}">
                <a16:creationId xmlns:a16="http://schemas.microsoft.com/office/drawing/2014/main" id="{75E33A57-DB8F-C5B7-0F2D-1575AE4DC1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6976109"/>
              </p:ext>
            </p:extLst>
          </p:nvPr>
        </p:nvGraphicFramePr>
        <p:xfrm>
          <a:off x="842380" y="4921255"/>
          <a:ext cx="2911480" cy="71579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28074">
                  <a:extLst>
                    <a:ext uri="{9D8B030D-6E8A-4147-A177-3AD203B41FA5}">
                      <a16:colId xmlns:a16="http://schemas.microsoft.com/office/drawing/2014/main" val="1301624438"/>
                    </a:ext>
                  </a:extLst>
                </a:gridCol>
                <a:gridCol w="640286">
                  <a:extLst>
                    <a:ext uri="{9D8B030D-6E8A-4147-A177-3AD203B41FA5}">
                      <a16:colId xmlns:a16="http://schemas.microsoft.com/office/drawing/2014/main" val="1220160376"/>
                    </a:ext>
                  </a:extLst>
                </a:gridCol>
                <a:gridCol w="426720">
                  <a:extLst>
                    <a:ext uri="{9D8B030D-6E8A-4147-A177-3AD203B41FA5}">
                      <a16:colId xmlns:a16="http://schemas.microsoft.com/office/drawing/2014/main" val="2586736192"/>
                    </a:ext>
                  </a:extLst>
                </a:gridCol>
                <a:gridCol w="634104">
                  <a:extLst>
                    <a:ext uri="{9D8B030D-6E8A-4147-A177-3AD203B41FA5}">
                      <a16:colId xmlns:a16="http://schemas.microsoft.com/office/drawing/2014/main" val="2983772812"/>
                    </a:ext>
                  </a:extLst>
                </a:gridCol>
                <a:gridCol w="582296">
                  <a:extLst>
                    <a:ext uri="{9D8B030D-6E8A-4147-A177-3AD203B41FA5}">
                      <a16:colId xmlns:a16="http://schemas.microsoft.com/office/drawing/2014/main" val="2582006826"/>
                    </a:ext>
                  </a:extLst>
                </a:gridCol>
              </a:tblGrid>
              <a:tr h="410990">
                <a:tc>
                  <a:txBody>
                    <a:bodyPr/>
                    <a:lstStyle/>
                    <a:p>
                      <a:r>
                        <a:rPr lang="en-DE" sz="700" dirty="0"/>
                        <a:t>Accura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7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700" dirty="0"/>
                        <a:t>Rec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700" dirty="0"/>
                        <a:t>F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700" dirty="0"/>
                        <a:t>Confusion Matr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459868"/>
                  </a:ext>
                </a:extLst>
              </a:tr>
              <a:tr h="238114">
                <a:tc>
                  <a:txBody>
                    <a:bodyPr/>
                    <a:lstStyle/>
                    <a:p>
                      <a:r>
                        <a:rPr lang="en-DE" sz="7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7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6</a:t>
                      </a:r>
                      <a:endParaRPr lang="en-DE" sz="7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7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6</a:t>
                      </a:r>
                      <a:endParaRPr lang="en-DE" sz="7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7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6</a:t>
                      </a:r>
                      <a:endParaRPr lang="en-DE" sz="7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7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190   6]</a:t>
                      </a:r>
                    </a:p>
                    <a:p>
                      <a:pPr marL="0" algn="l" defTabSz="914400" rtl="0" eaLnBrk="1" latinLnBrk="0" hangingPunct="1"/>
                      <a:r>
                        <a:rPr lang="en-GB" sz="7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  6  19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167106"/>
                  </a:ext>
                </a:extLst>
              </a:tr>
            </a:tbl>
          </a:graphicData>
        </a:graphic>
      </p:graphicFrame>
      <p:graphicFrame>
        <p:nvGraphicFramePr>
          <p:cNvPr id="31" name="Table 26">
            <a:extLst>
              <a:ext uri="{FF2B5EF4-FFF2-40B4-BE49-F238E27FC236}">
                <a16:creationId xmlns:a16="http://schemas.microsoft.com/office/drawing/2014/main" id="{D8D8B0B9-4464-C0DD-877B-93810A2FDDD0}"/>
              </a:ext>
            </a:extLst>
          </p:cNvPr>
          <p:cNvGraphicFramePr>
            <a:graphicFrameLocks noGrp="1"/>
          </p:cNvGraphicFramePr>
          <p:nvPr/>
        </p:nvGraphicFramePr>
        <p:xfrm>
          <a:off x="4713997" y="4921255"/>
          <a:ext cx="2911480" cy="71579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28074">
                  <a:extLst>
                    <a:ext uri="{9D8B030D-6E8A-4147-A177-3AD203B41FA5}">
                      <a16:colId xmlns:a16="http://schemas.microsoft.com/office/drawing/2014/main" val="1301624438"/>
                    </a:ext>
                  </a:extLst>
                </a:gridCol>
                <a:gridCol w="640286">
                  <a:extLst>
                    <a:ext uri="{9D8B030D-6E8A-4147-A177-3AD203B41FA5}">
                      <a16:colId xmlns:a16="http://schemas.microsoft.com/office/drawing/2014/main" val="1220160376"/>
                    </a:ext>
                  </a:extLst>
                </a:gridCol>
                <a:gridCol w="426720">
                  <a:extLst>
                    <a:ext uri="{9D8B030D-6E8A-4147-A177-3AD203B41FA5}">
                      <a16:colId xmlns:a16="http://schemas.microsoft.com/office/drawing/2014/main" val="2586736192"/>
                    </a:ext>
                  </a:extLst>
                </a:gridCol>
                <a:gridCol w="634104">
                  <a:extLst>
                    <a:ext uri="{9D8B030D-6E8A-4147-A177-3AD203B41FA5}">
                      <a16:colId xmlns:a16="http://schemas.microsoft.com/office/drawing/2014/main" val="2983772812"/>
                    </a:ext>
                  </a:extLst>
                </a:gridCol>
                <a:gridCol w="582296">
                  <a:extLst>
                    <a:ext uri="{9D8B030D-6E8A-4147-A177-3AD203B41FA5}">
                      <a16:colId xmlns:a16="http://schemas.microsoft.com/office/drawing/2014/main" val="2582006826"/>
                    </a:ext>
                  </a:extLst>
                </a:gridCol>
              </a:tblGrid>
              <a:tr h="410990">
                <a:tc>
                  <a:txBody>
                    <a:bodyPr/>
                    <a:lstStyle/>
                    <a:p>
                      <a:r>
                        <a:rPr lang="en-DE" sz="700" dirty="0"/>
                        <a:t>Accura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7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700" dirty="0"/>
                        <a:t>Rec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700" dirty="0"/>
                        <a:t>F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700" dirty="0"/>
                        <a:t>Confusion Matr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459868"/>
                  </a:ext>
                </a:extLst>
              </a:tr>
              <a:tr h="238114">
                <a:tc>
                  <a:txBody>
                    <a:bodyPr/>
                    <a:lstStyle/>
                    <a:p>
                      <a:r>
                        <a:rPr lang="en-DE" sz="7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43210</a:t>
                      </a:r>
                      <a:endParaRPr lang="en-DE" sz="7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7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42857</a:t>
                      </a:r>
                      <a:endParaRPr lang="en-DE" sz="7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7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50</a:t>
                      </a:r>
                      <a:endParaRPr lang="en-DE" sz="7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7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93333</a:t>
                      </a:r>
                      <a:endParaRPr lang="en-DE" sz="7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7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356 9] </a:t>
                      </a:r>
                    </a:p>
                    <a:p>
                      <a:pPr marL="0" algn="l" defTabSz="914400" rtl="0" eaLnBrk="1" latinLnBrk="0" hangingPunct="1"/>
                      <a:r>
                        <a:rPr lang="en-GB" sz="7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 14 26]</a:t>
                      </a:r>
                      <a:endParaRPr lang="en-DE" sz="7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167106"/>
                  </a:ext>
                </a:extLst>
              </a:tr>
            </a:tbl>
          </a:graphicData>
        </a:graphic>
      </p:graphicFrame>
      <p:graphicFrame>
        <p:nvGraphicFramePr>
          <p:cNvPr id="32" name="Table 26">
            <a:extLst>
              <a:ext uri="{FF2B5EF4-FFF2-40B4-BE49-F238E27FC236}">
                <a16:creationId xmlns:a16="http://schemas.microsoft.com/office/drawing/2014/main" id="{F4471256-0C81-AE18-E95C-DCA3A119197E}"/>
              </a:ext>
            </a:extLst>
          </p:cNvPr>
          <p:cNvGraphicFramePr>
            <a:graphicFrameLocks noGrp="1"/>
          </p:cNvGraphicFramePr>
          <p:nvPr/>
        </p:nvGraphicFramePr>
        <p:xfrm>
          <a:off x="8725917" y="4921255"/>
          <a:ext cx="2911480" cy="70055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28074">
                  <a:extLst>
                    <a:ext uri="{9D8B030D-6E8A-4147-A177-3AD203B41FA5}">
                      <a16:colId xmlns:a16="http://schemas.microsoft.com/office/drawing/2014/main" val="1301624438"/>
                    </a:ext>
                  </a:extLst>
                </a:gridCol>
                <a:gridCol w="640286">
                  <a:extLst>
                    <a:ext uri="{9D8B030D-6E8A-4147-A177-3AD203B41FA5}">
                      <a16:colId xmlns:a16="http://schemas.microsoft.com/office/drawing/2014/main" val="1220160376"/>
                    </a:ext>
                  </a:extLst>
                </a:gridCol>
                <a:gridCol w="426720">
                  <a:extLst>
                    <a:ext uri="{9D8B030D-6E8A-4147-A177-3AD203B41FA5}">
                      <a16:colId xmlns:a16="http://schemas.microsoft.com/office/drawing/2014/main" val="2586736192"/>
                    </a:ext>
                  </a:extLst>
                </a:gridCol>
                <a:gridCol w="634104">
                  <a:extLst>
                    <a:ext uri="{9D8B030D-6E8A-4147-A177-3AD203B41FA5}">
                      <a16:colId xmlns:a16="http://schemas.microsoft.com/office/drawing/2014/main" val="2983772812"/>
                    </a:ext>
                  </a:extLst>
                </a:gridCol>
                <a:gridCol w="582296">
                  <a:extLst>
                    <a:ext uri="{9D8B030D-6E8A-4147-A177-3AD203B41FA5}">
                      <a16:colId xmlns:a16="http://schemas.microsoft.com/office/drawing/2014/main" val="2582006826"/>
                    </a:ext>
                  </a:extLst>
                </a:gridCol>
              </a:tblGrid>
              <a:tr h="410990">
                <a:tc>
                  <a:txBody>
                    <a:bodyPr/>
                    <a:lstStyle/>
                    <a:p>
                      <a:r>
                        <a:rPr lang="en-DE" sz="700" dirty="0"/>
                        <a:t>Accura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7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700" dirty="0"/>
                        <a:t>Rec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700" dirty="0"/>
                        <a:t>F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700" dirty="0"/>
                        <a:t>Confusion Matr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459868"/>
                  </a:ext>
                </a:extLst>
              </a:tr>
              <a:tr h="238114">
                <a:tc>
                  <a:txBody>
                    <a:bodyPr/>
                    <a:lstStyle/>
                    <a:p>
                      <a:r>
                        <a:rPr lang="en-DE" sz="7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125</a:t>
                      </a:r>
                      <a:endParaRPr lang="en-DE" sz="7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7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45455</a:t>
                      </a:r>
                      <a:endParaRPr lang="en-DE" sz="7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7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5</a:t>
                      </a:r>
                      <a:endParaRPr lang="en-DE" sz="7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7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31579</a:t>
                      </a:r>
                      <a:endParaRPr lang="en-DE" sz="7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700" b="1" dirty="0">
                          <a:effectLst/>
                        </a:rPr>
                        <a:t>[335 25] </a:t>
                      </a:r>
                    </a:p>
                    <a:p>
                      <a:r>
                        <a:rPr lang="en-GB" sz="700" b="1" dirty="0">
                          <a:effectLst/>
                        </a:rPr>
                        <a:t>[ 10 30]</a:t>
                      </a:r>
                    </a:p>
                  </a:txBody>
                  <a:tcPr marL="76200" marR="76200" marT="38100" marB="38100" anchor="ctr"/>
                </a:tc>
                <a:extLst>
                  <a:ext uri="{0D108BD9-81ED-4DB2-BD59-A6C34878D82A}">
                    <a16:rowId xmlns:a16="http://schemas.microsoft.com/office/drawing/2014/main" val="23651671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36508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C28E6F-544C-ED94-855B-32352B358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GB" sz="6000" b="0" dirty="0">
                <a:effectLst/>
                <a:latin typeface="+mj-lt"/>
              </a:rPr>
            </a:br>
            <a:r>
              <a:rPr lang="en-GB" sz="6000" b="0" dirty="0">
                <a:effectLst/>
                <a:latin typeface="+mj-lt"/>
              </a:rPr>
              <a:t>WDC</a:t>
            </a:r>
            <a:br>
              <a:rPr lang="en-GB" sz="6000" b="0" dirty="0">
                <a:effectLst/>
                <a:latin typeface="+mj-lt"/>
              </a:rPr>
            </a:b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0D56F3-E388-A6FD-21DD-0643BD55BA32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844550" y="4564063"/>
            <a:ext cx="10507663" cy="1500187"/>
          </a:xfrm>
          <a:prstGeom prst="rect">
            <a:avLst/>
          </a:prstGeom>
        </p:spPr>
        <p:txBody>
          <a:bodyPr/>
          <a:lstStyle/>
          <a:p>
            <a:endParaRPr lang="en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03D2CC-85CB-C6EC-6C36-7F52AF14AC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8697428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1E552-0305-DA9E-40D4-B562686D8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Zero-Shot-Co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3C144B-8FBC-6E1F-C8A7-8574FDC0A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lang="en-DE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2B14DA8-3D3B-251C-CE01-CBA84528A1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2491" y="1089024"/>
            <a:ext cx="10511308" cy="360363"/>
          </a:xfrm>
        </p:spPr>
        <p:txBody>
          <a:bodyPr/>
          <a:lstStyle/>
          <a:p>
            <a:r>
              <a:rPr lang="en-GB" sz="1200" b="1" dirty="0">
                <a:effectLst/>
              </a:rPr>
              <a:t>Dataset</a:t>
            </a:r>
            <a:r>
              <a:rPr lang="en-GB" sz="1200" b="0" dirty="0">
                <a:effectLst/>
              </a:rPr>
              <a:t>: WDC</a:t>
            </a:r>
            <a:endParaRPr lang="en-GB" sz="1600" b="0" dirty="0">
              <a:effectLst/>
            </a:endParaRPr>
          </a:p>
          <a:p>
            <a:endParaRPr lang="en-DE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03499C-5067-E9F6-D944-B3E0EECA285C}"/>
              </a:ext>
            </a:extLst>
          </p:cNvPr>
          <p:cNvSpPr txBox="1"/>
          <p:nvPr/>
        </p:nvSpPr>
        <p:spPr>
          <a:xfrm>
            <a:off x="842380" y="1482407"/>
            <a:ext cx="210112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CoT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3.5-turbo-0301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C1E269-CD3D-878E-75AF-4EE39B29C145}"/>
              </a:ext>
            </a:extLst>
          </p:cNvPr>
          <p:cNvSpPr txBox="1"/>
          <p:nvPr/>
        </p:nvSpPr>
        <p:spPr>
          <a:xfrm>
            <a:off x="444843" y="57953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C41CD60-6B4C-9CBA-379A-6678CA8DD9BB}"/>
              </a:ext>
            </a:extLst>
          </p:cNvPr>
          <p:cNvSpPr txBox="1"/>
          <p:nvPr/>
        </p:nvSpPr>
        <p:spPr>
          <a:xfrm>
            <a:off x="2857774" y="1482407"/>
            <a:ext cx="6878806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ould you please tell me if the following two products are the same one?</a:t>
            </a:r>
            <a:endParaRPr lang="en-GB" sz="12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2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oduct 1: {p1}</a:t>
            </a:r>
            <a:endParaRPr lang="en-GB" sz="12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2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roduct 2: {p2}</a:t>
            </a:r>
            <a:endParaRPr lang="en-GB" sz="12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br>
              <a:rPr lang="en-GB" sz="1200" b="0" dirty="0">
                <a:solidFill>
                  <a:srgbClr val="D4D4D4"/>
                </a:solidFill>
                <a:effectLst/>
                <a:latin typeface="Menlo" panose="020B0609030804020204" pitchFamily="49" charset="0"/>
              </a:rPr>
            </a:br>
            <a:r>
              <a:rPr lang="en-GB" sz="12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lease answer my question with Yes or No. Lets think step by step.</a:t>
            </a:r>
            <a:endParaRPr lang="en-GB" sz="12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DE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B50B46-D5E1-A113-01AC-EBF46C39792D}"/>
              </a:ext>
            </a:extLst>
          </p:cNvPr>
          <p:cNvSpPr txBox="1"/>
          <p:nvPr/>
        </p:nvSpPr>
        <p:spPr>
          <a:xfrm>
            <a:off x="4065373" y="292855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92AA21C-CCBC-A4ED-7BB2-81D34DC9F53F}"/>
              </a:ext>
            </a:extLst>
          </p:cNvPr>
          <p:cNvCxnSpPr/>
          <p:nvPr/>
        </p:nvCxnSpPr>
        <p:spPr>
          <a:xfrm>
            <a:off x="864288" y="3280231"/>
            <a:ext cx="105098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6" name="Table 26">
            <a:extLst>
              <a:ext uri="{FF2B5EF4-FFF2-40B4-BE49-F238E27FC236}">
                <a16:creationId xmlns:a16="http://schemas.microsoft.com/office/drawing/2014/main" id="{75E33A57-DB8F-C5B7-0F2D-1575AE4DC1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4273415"/>
              </p:ext>
            </p:extLst>
          </p:nvPr>
        </p:nvGraphicFramePr>
        <p:xfrm>
          <a:off x="861695" y="3789363"/>
          <a:ext cx="10512425" cy="123454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67775">
                  <a:extLst>
                    <a:ext uri="{9D8B030D-6E8A-4147-A177-3AD203B41FA5}">
                      <a16:colId xmlns:a16="http://schemas.microsoft.com/office/drawing/2014/main" val="1301624438"/>
                    </a:ext>
                  </a:extLst>
                </a:gridCol>
                <a:gridCol w="2311868">
                  <a:extLst>
                    <a:ext uri="{9D8B030D-6E8A-4147-A177-3AD203B41FA5}">
                      <a16:colId xmlns:a16="http://schemas.microsoft.com/office/drawing/2014/main" val="1220160376"/>
                    </a:ext>
                  </a:extLst>
                </a:gridCol>
                <a:gridCol w="1540750">
                  <a:extLst>
                    <a:ext uri="{9D8B030D-6E8A-4147-A177-3AD203B41FA5}">
                      <a16:colId xmlns:a16="http://schemas.microsoft.com/office/drawing/2014/main" val="2586736192"/>
                    </a:ext>
                  </a:extLst>
                </a:gridCol>
                <a:gridCol w="2289547">
                  <a:extLst>
                    <a:ext uri="{9D8B030D-6E8A-4147-A177-3AD203B41FA5}">
                      <a16:colId xmlns:a16="http://schemas.microsoft.com/office/drawing/2014/main" val="2983772812"/>
                    </a:ext>
                  </a:extLst>
                </a:gridCol>
                <a:gridCol w="2102485">
                  <a:extLst>
                    <a:ext uri="{9D8B030D-6E8A-4147-A177-3AD203B41FA5}">
                      <a16:colId xmlns:a16="http://schemas.microsoft.com/office/drawing/2014/main" val="2582006826"/>
                    </a:ext>
                  </a:extLst>
                </a:gridCol>
              </a:tblGrid>
              <a:tr h="655423">
                <a:tc>
                  <a:txBody>
                    <a:bodyPr/>
                    <a:lstStyle/>
                    <a:p>
                      <a:r>
                        <a:rPr lang="en-DE" sz="1600" dirty="0"/>
                        <a:t>Accura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 dirty="0"/>
                        <a:t>Rec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 dirty="0"/>
                        <a:t>F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 dirty="0"/>
                        <a:t>Confusion Matr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459868"/>
                  </a:ext>
                </a:extLst>
              </a:tr>
              <a:tr h="548958">
                <a:tc>
                  <a:txBody>
                    <a:bodyPr/>
                    <a:lstStyle/>
                    <a:p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9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196   0]</a:t>
                      </a:r>
                    </a:p>
                    <a:p>
                      <a:pPr marL="0" algn="l" defTabSz="914400" rtl="0" eaLnBrk="1" latinLnBrk="0" hangingPunct="1"/>
                      <a:r>
                        <a:rPr lang="en-GB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 25   0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167106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9494189F-3208-1E4C-0C6E-C4F48EDE72FD}"/>
              </a:ext>
            </a:extLst>
          </p:cNvPr>
          <p:cNvSpPr txBox="1"/>
          <p:nvPr/>
        </p:nvSpPr>
        <p:spPr>
          <a:xfrm>
            <a:off x="849838" y="5347095"/>
            <a:ext cx="21194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è"/>
            </a:pPr>
            <a:r>
              <a:rPr lang="en-GB" dirty="0"/>
              <a:t>N</a:t>
            </a:r>
            <a:r>
              <a:rPr lang="en-DE" dirty="0"/>
              <a:t>o useful results</a:t>
            </a:r>
          </a:p>
          <a:p>
            <a:pPr marL="285750" indent="-285750">
              <a:buFont typeface="Wingdings" pitchFamily="2" charset="2"/>
              <a:buChar char="è"/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3439269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1E552-0305-DA9E-40D4-B562686D8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Manual-few-shot-Co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3C144B-8FBC-6E1F-C8A7-8574FDC0A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lang="en-DE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2B14DA8-3D3B-251C-CE01-CBA84528A1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2491" y="1089024"/>
            <a:ext cx="10511308" cy="360363"/>
          </a:xfrm>
        </p:spPr>
        <p:txBody>
          <a:bodyPr/>
          <a:lstStyle/>
          <a:p>
            <a:r>
              <a:rPr lang="en-GB" sz="1200" b="1" dirty="0">
                <a:effectLst/>
              </a:rPr>
              <a:t>Dataset</a:t>
            </a:r>
            <a:r>
              <a:rPr lang="en-GB" sz="1200" b="0" dirty="0">
                <a:effectLst/>
              </a:rPr>
              <a:t>: WDC</a:t>
            </a:r>
            <a:endParaRPr lang="en-GB" sz="1600" b="0" dirty="0">
              <a:effectLst/>
            </a:endParaRPr>
          </a:p>
          <a:p>
            <a:endParaRPr lang="en-DE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03499C-5067-E9F6-D944-B3E0EECA285C}"/>
              </a:ext>
            </a:extLst>
          </p:cNvPr>
          <p:cNvSpPr txBox="1"/>
          <p:nvPr/>
        </p:nvSpPr>
        <p:spPr>
          <a:xfrm>
            <a:off x="839788" y="1482407"/>
            <a:ext cx="21011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CoT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3.5-turbo-0301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r>
              <a:rPr lang="en-GB" sz="1200" dirty="0"/>
              <a:t>2 examples</a:t>
            </a:r>
          </a:p>
          <a:p>
            <a:endParaRPr lang="en-DE" dirty="0">
              <a:latin typeface="+mj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C1E269-CD3D-878E-75AF-4EE39B29C145}"/>
              </a:ext>
            </a:extLst>
          </p:cNvPr>
          <p:cNvSpPr txBox="1"/>
          <p:nvPr/>
        </p:nvSpPr>
        <p:spPr>
          <a:xfrm>
            <a:off x="444843" y="57953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C41CD60-6B4C-9CBA-379A-6678CA8DD9BB}"/>
              </a:ext>
            </a:extLst>
          </p:cNvPr>
          <p:cNvSpPr txBox="1"/>
          <p:nvPr/>
        </p:nvSpPr>
        <p:spPr>
          <a:xfrm>
            <a:off x="2857774" y="1482407"/>
            <a:ext cx="4665060" cy="18004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Self-crafted few shot </a:t>
            </a:r>
            <a:r>
              <a:rPr lang="en-GB" sz="900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oT</a:t>
            </a:r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-Prompt with two examples in the format:</a:t>
            </a: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Q: Are the following two products the same?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Product 1: …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Product 2: …</a:t>
            </a:r>
            <a:endParaRPr lang="en-GB" sz="9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A: </a:t>
            </a:r>
            <a:r>
              <a:rPr lang="en-GB" sz="900" i="1" dirty="0">
                <a:solidFill>
                  <a:srgbClr val="CE9178"/>
                </a:solidFill>
                <a:latin typeface="Menlo" panose="020B0609030804020204" pitchFamily="49" charset="0"/>
              </a:rPr>
              <a:t>Reasoning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…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Q: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A: Let’s think step by step!</a:t>
            </a:r>
          </a:p>
          <a:p>
            <a:endParaRPr lang="en-GB" sz="9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endParaRPr lang="en-GB" sz="9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DE" sz="11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B50B46-D5E1-A113-01AC-EBF46C39792D}"/>
              </a:ext>
            </a:extLst>
          </p:cNvPr>
          <p:cNvSpPr txBox="1"/>
          <p:nvPr/>
        </p:nvSpPr>
        <p:spPr>
          <a:xfrm>
            <a:off x="4065373" y="292855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graphicFrame>
        <p:nvGraphicFramePr>
          <p:cNvPr id="26" name="Table 26">
            <a:extLst>
              <a:ext uri="{FF2B5EF4-FFF2-40B4-BE49-F238E27FC236}">
                <a16:creationId xmlns:a16="http://schemas.microsoft.com/office/drawing/2014/main" id="{75E33A57-DB8F-C5B7-0F2D-1575AE4DC1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4063391"/>
              </p:ext>
            </p:extLst>
          </p:nvPr>
        </p:nvGraphicFramePr>
        <p:xfrm>
          <a:off x="864288" y="3789363"/>
          <a:ext cx="10512425" cy="123454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67775">
                  <a:extLst>
                    <a:ext uri="{9D8B030D-6E8A-4147-A177-3AD203B41FA5}">
                      <a16:colId xmlns:a16="http://schemas.microsoft.com/office/drawing/2014/main" val="1301624438"/>
                    </a:ext>
                  </a:extLst>
                </a:gridCol>
                <a:gridCol w="2311868">
                  <a:extLst>
                    <a:ext uri="{9D8B030D-6E8A-4147-A177-3AD203B41FA5}">
                      <a16:colId xmlns:a16="http://schemas.microsoft.com/office/drawing/2014/main" val="1220160376"/>
                    </a:ext>
                  </a:extLst>
                </a:gridCol>
                <a:gridCol w="1540750">
                  <a:extLst>
                    <a:ext uri="{9D8B030D-6E8A-4147-A177-3AD203B41FA5}">
                      <a16:colId xmlns:a16="http://schemas.microsoft.com/office/drawing/2014/main" val="2586736192"/>
                    </a:ext>
                  </a:extLst>
                </a:gridCol>
                <a:gridCol w="2289547">
                  <a:extLst>
                    <a:ext uri="{9D8B030D-6E8A-4147-A177-3AD203B41FA5}">
                      <a16:colId xmlns:a16="http://schemas.microsoft.com/office/drawing/2014/main" val="2983772812"/>
                    </a:ext>
                  </a:extLst>
                </a:gridCol>
                <a:gridCol w="2102485">
                  <a:extLst>
                    <a:ext uri="{9D8B030D-6E8A-4147-A177-3AD203B41FA5}">
                      <a16:colId xmlns:a16="http://schemas.microsoft.com/office/drawing/2014/main" val="2582006826"/>
                    </a:ext>
                  </a:extLst>
                </a:gridCol>
              </a:tblGrid>
              <a:tr h="655423">
                <a:tc>
                  <a:txBody>
                    <a:bodyPr/>
                    <a:lstStyle/>
                    <a:p>
                      <a:r>
                        <a:rPr lang="en-DE" sz="1600"/>
                        <a:t>Accuracy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Precision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Recall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F1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Confusion Matrix</a:t>
                      </a:r>
                      <a:endParaRPr lang="en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459868"/>
                  </a:ext>
                </a:extLst>
              </a:tr>
              <a:tr h="548958">
                <a:tc>
                  <a:txBody>
                    <a:bodyPr/>
                    <a:lstStyle/>
                    <a:p>
                      <a:r>
                        <a:rPr lang="en-DE" sz="1600" b="1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2</a:t>
                      </a:r>
                      <a:endParaRPr lang="en-DE" sz="1600" b="1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76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69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185  11]</a:t>
                      </a:r>
                    </a:p>
                    <a:p>
                      <a:pPr marL="0" algn="l" defTabSz="914400" rtl="0" eaLnBrk="1" latinLnBrk="0" hangingPunct="1"/>
                      <a:r>
                        <a:rPr lang="en-D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 6  19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16710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ED20F4B-1120-4AFB-58EC-2E41923D4A58}"/>
              </a:ext>
            </a:extLst>
          </p:cNvPr>
          <p:cNvSpPr txBox="1"/>
          <p:nvPr/>
        </p:nvSpPr>
        <p:spPr>
          <a:xfrm>
            <a:off x="849838" y="5347095"/>
            <a:ext cx="395435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è"/>
            </a:pPr>
            <a:r>
              <a:rPr lang="de-DE" dirty="0" err="1"/>
              <a:t>Worse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Baseline Prompt</a:t>
            </a:r>
          </a:p>
          <a:p>
            <a:pPr marL="285750" indent="-285750">
              <a:buFont typeface="Wingdings" pitchFamily="2" charset="2"/>
              <a:buChar char="è"/>
            </a:pPr>
            <a:endParaRPr lang="en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913658-9903-6BFD-1602-1F72FD3EBFC9}"/>
              </a:ext>
            </a:extLst>
          </p:cNvPr>
          <p:cNvSpPr txBox="1"/>
          <p:nvPr/>
        </p:nvSpPr>
        <p:spPr>
          <a:xfrm>
            <a:off x="839788" y="2903683"/>
            <a:ext cx="210112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Eval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3.5-turbo-0301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endParaRPr lang="en-DE" dirty="0"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45E928-1CDD-8BAC-D492-5742EAA7EE9F}"/>
              </a:ext>
            </a:extLst>
          </p:cNvPr>
          <p:cNvSpPr txBox="1"/>
          <p:nvPr/>
        </p:nvSpPr>
        <p:spPr>
          <a:xfrm>
            <a:off x="2857774" y="2903683"/>
            <a:ext cx="83872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The following is the answer to the question: "Could you please tell me if the following two products are the same one?"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Evaluate if the answer overall corresponds to the products being the same (match) or not.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lease answer with "match" or "no match".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Answer: {</a:t>
            </a:r>
            <a:r>
              <a:rPr lang="en-GB" sz="900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hain_of_thought_reasoning</a:t>
            </a:r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18734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1E552-0305-DA9E-40D4-B562686D8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Manual-few-shot-CoT (different Eval Prompt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3C144B-8FBC-6E1F-C8A7-8574FDC0A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lang="en-DE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2B14DA8-3D3B-251C-CE01-CBA84528A1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2491" y="1089024"/>
            <a:ext cx="10511308" cy="360363"/>
          </a:xfrm>
        </p:spPr>
        <p:txBody>
          <a:bodyPr/>
          <a:lstStyle/>
          <a:p>
            <a:r>
              <a:rPr lang="en-GB" sz="1200" b="1" dirty="0">
                <a:effectLst/>
              </a:rPr>
              <a:t>Dataset</a:t>
            </a:r>
            <a:r>
              <a:rPr lang="en-GB" sz="1200" b="0" dirty="0">
                <a:effectLst/>
              </a:rPr>
              <a:t>: WDC</a:t>
            </a:r>
            <a:endParaRPr lang="en-GB" sz="1600" b="0" dirty="0">
              <a:effectLst/>
            </a:endParaRPr>
          </a:p>
          <a:p>
            <a:endParaRPr lang="en-DE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03499C-5067-E9F6-D944-B3E0EECA285C}"/>
              </a:ext>
            </a:extLst>
          </p:cNvPr>
          <p:cNvSpPr txBox="1"/>
          <p:nvPr/>
        </p:nvSpPr>
        <p:spPr>
          <a:xfrm>
            <a:off x="839788" y="1482407"/>
            <a:ext cx="21011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CoT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3.5-turbo-0301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r>
              <a:rPr lang="en-GB" sz="1200" dirty="0"/>
              <a:t>2 examples</a:t>
            </a:r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C1E269-CD3D-878E-75AF-4EE39B29C145}"/>
              </a:ext>
            </a:extLst>
          </p:cNvPr>
          <p:cNvSpPr txBox="1"/>
          <p:nvPr/>
        </p:nvSpPr>
        <p:spPr>
          <a:xfrm>
            <a:off x="444843" y="57953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C41CD60-6B4C-9CBA-379A-6678CA8DD9BB}"/>
              </a:ext>
            </a:extLst>
          </p:cNvPr>
          <p:cNvSpPr txBox="1"/>
          <p:nvPr/>
        </p:nvSpPr>
        <p:spPr>
          <a:xfrm>
            <a:off x="2857774" y="1482407"/>
            <a:ext cx="4665060" cy="18004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Self-crafted few shot </a:t>
            </a:r>
            <a:r>
              <a:rPr lang="en-GB" sz="900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oT</a:t>
            </a:r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-Prompt with two examples in the format:</a:t>
            </a: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Q: Are the following two products the same?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Product 1: …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Product 2: …</a:t>
            </a:r>
            <a:endParaRPr lang="en-GB" sz="9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A: </a:t>
            </a:r>
            <a:r>
              <a:rPr lang="en-GB" sz="900" i="1" dirty="0">
                <a:solidFill>
                  <a:srgbClr val="CE9178"/>
                </a:solidFill>
                <a:latin typeface="Menlo" panose="020B0609030804020204" pitchFamily="49" charset="0"/>
              </a:rPr>
              <a:t>Reasoning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…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Q: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A: Let’s think step by step!</a:t>
            </a:r>
          </a:p>
          <a:p>
            <a:endParaRPr lang="en-GB" sz="9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endParaRPr lang="en-GB" sz="9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DE" sz="11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B50B46-D5E1-A113-01AC-EBF46C39792D}"/>
              </a:ext>
            </a:extLst>
          </p:cNvPr>
          <p:cNvSpPr txBox="1"/>
          <p:nvPr/>
        </p:nvSpPr>
        <p:spPr>
          <a:xfrm>
            <a:off x="4065373" y="292855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graphicFrame>
        <p:nvGraphicFramePr>
          <p:cNvPr id="26" name="Table 26">
            <a:extLst>
              <a:ext uri="{FF2B5EF4-FFF2-40B4-BE49-F238E27FC236}">
                <a16:creationId xmlns:a16="http://schemas.microsoft.com/office/drawing/2014/main" id="{75E33A57-DB8F-C5B7-0F2D-1575AE4DC1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8952058"/>
              </p:ext>
            </p:extLst>
          </p:nvPr>
        </p:nvGraphicFramePr>
        <p:xfrm>
          <a:off x="864288" y="3789363"/>
          <a:ext cx="10512425" cy="123454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67775">
                  <a:extLst>
                    <a:ext uri="{9D8B030D-6E8A-4147-A177-3AD203B41FA5}">
                      <a16:colId xmlns:a16="http://schemas.microsoft.com/office/drawing/2014/main" val="1301624438"/>
                    </a:ext>
                  </a:extLst>
                </a:gridCol>
                <a:gridCol w="2311868">
                  <a:extLst>
                    <a:ext uri="{9D8B030D-6E8A-4147-A177-3AD203B41FA5}">
                      <a16:colId xmlns:a16="http://schemas.microsoft.com/office/drawing/2014/main" val="1220160376"/>
                    </a:ext>
                  </a:extLst>
                </a:gridCol>
                <a:gridCol w="1540750">
                  <a:extLst>
                    <a:ext uri="{9D8B030D-6E8A-4147-A177-3AD203B41FA5}">
                      <a16:colId xmlns:a16="http://schemas.microsoft.com/office/drawing/2014/main" val="2586736192"/>
                    </a:ext>
                  </a:extLst>
                </a:gridCol>
                <a:gridCol w="2289547">
                  <a:extLst>
                    <a:ext uri="{9D8B030D-6E8A-4147-A177-3AD203B41FA5}">
                      <a16:colId xmlns:a16="http://schemas.microsoft.com/office/drawing/2014/main" val="2983772812"/>
                    </a:ext>
                  </a:extLst>
                </a:gridCol>
                <a:gridCol w="2102485">
                  <a:extLst>
                    <a:ext uri="{9D8B030D-6E8A-4147-A177-3AD203B41FA5}">
                      <a16:colId xmlns:a16="http://schemas.microsoft.com/office/drawing/2014/main" val="2582006826"/>
                    </a:ext>
                  </a:extLst>
                </a:gridCol>
              </a:tblGrid>
              <a:tr h="655423">
                <a:tc>
                  <a:txBody>
                    <a:bodyPr/>
                    <a:lstStyle/>
                    <a:p>
                      <a:r>
                        <a:rPr lang="en-DE" sz="1600"/>
                        <a:t>Accuracy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Precision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Recall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F1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Confusion Matrix</a:t>
                      </a:r>
                      <a:endParaRPr lang="en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459868"/>
                  </a:ext>
                </a:extLst>
              </a:tr>
              <a:tr h="548958">
                <a:tc>
                  <a:txBody>
                    <a:bodyPr/>
                    <a:lstStyle/>
                    <a:p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5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1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185  11]</a:t>
                      </a:r>
                    </a:p>
                    <a:p>
                      <a:pPr marL="0" algn="l" defTabSz="914400" rtl="0" eaLnBrk="1" latinLnBrk="0" hangingPunct="1"/>
                      <a:r>
                        <a:rPr lang="en-D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 5  20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16710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ED20F4B-1120-4AFB-58EC-2E41923D4A58}"/>
              </a:ext>
            </a:extLst>
          </p:cNvPr>
          <p:cNvSpPr txBox="1"/>
          <p:nvPr/>
        </p:nvSpPr>
        <p:spPr>
          <a:xfrm>
            <a:off x="849838" y="5347095"/>
            <a:ext cx="51403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è"/>
            </a:pPr>
            <a:r>
              <a:rPr lang="de-DE" dirty="0" err="1"/>
              <a:t>Improves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 a </a:t>
            </a:r>
            <a:r>
              <a:rPr lang="de-DE" dirty="0" err="1"/>
              <a:t>little</a:t>
            </a:r>
            <a:r>
              <a:rPr lang="en-DE" dirty="0"/>
              <a:t>, but not significant</a:t>
            </a:r>
          </a:p>
          <a:p>
            <a:pPr marL="285750" indent="-285750">
              <a:buFont typeface="Wingdings" pitchFamily="2" charset="2"/>
              <a:buChar char="è"/>
            </a:pP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913658-9903-6BFD-1602-1F72FD3EBFC9}"/>
              </a:ext>
            </a:extLst>
          </p:cNvPr>
          <p:cNvSpPr txBox="1"/>
          <p:nvPr/>
        </p:nvSpPr>
        <p:spPr>
          <a:xfrm>
            <a:off x="839788" y="2903683"/>
            <a:ext cx="21011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Eval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3.5-turbo-0301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endParaRPr lang="en-GB" sz="1200" dirty="0"/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45E928-1CDD-8BAC-D492-5742EAA7EE9F}"/>
              </a:ext>
            </a:extLst>
          </p:cNvPr>
          <p:cNvSpPr txBox="1"/>
          <p:nvPr/>
        </p:nvSpPr>
        <p:spPr>
          <a:xfrm>
            <a:off x="2857774" y="2903683"/>
            <a:ext cx="473398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Decide if this answer corresponds to two products matching or not.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lease answer with "match" or "no match".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Answer: {</a:t>
            </a:r>
            <a:r>
              <a:rPr lang="en-GB" sz="900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hain_of_thought_reasoning</a:t>
            </a:r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3660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1E552-0305-DA9E-40D4-B562686D8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Auto-few-shot-Co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3C144B-8FBC-6E1F-C8A7-8574FDC0A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lang="en-DE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2B14DA8-3D3B-251C-CE01-CBA84528A1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2491" y="1089024"/>
            <a:ext cx="10511308" cy="360363"/>
          </a:xfrm>
        </p:spPr>
        <p:txBody>
          <a:bodyPr/>
          <a:lstStyle/>
          <a:p>
            <a:r>
              <a:rPr lang="en-GB" sz="1200" b="1" dirty="0">
                <a:effectLst/>
              </a:rPr>
              <a:t>Reasoning is generated by </a:t>
            </a:r>
            <a:r>
              <a:rPr lang="en-GB" sz="1200" b="1" dirty="0"/>
              <a:t>GPT 3.5-turbo-0301 through Zero-Shot Prompting</a:t>
            </a:r>
            <a:endParaRPr lang="en-GB" sz="1200" b="1" dirty="0">
              <a:effectLst/>
            </a:endParaRPr>
          </a:p>
          <a:p>
            <a:r>
              <a:rPr lang="en-GB" sz="1200" b="1" dirty="0">
                <a:effectLst/>
              </a:rPr>
              <a:t>Dataset</a:t>
            </a:r>
            <a:r>
              <a:rPr lang="en-GB" sz="1200" b="0" dirty="0">
                <a:effectLst/>
              </a:rPr>
              <a:t>: WDC</a:t>
            </a:r>
          </a:p>
          <a:p>
            <a:endParaRPr lang="en-GB" sz="1600" b="0" dirty="0">
              <a:effectLst/>
            </a:endParaRPr>
          </a:p>
          <a:p>
            <a:endParaRPr lang="en-DE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03499C-5067-E9F6-D944-B3E0EECA285C}"/>
              </a:ext>
            </a:extLst>
          </p:cNvPr>
          <p:cNvSpPr txBox="1"/>
          <p:nvPr/>
        </p:nvSpPr>
        <p:spPr>
          <a:xfrm>
            <a:off x="839788" y="1482407"/>
            <a:ext cx="21011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CoT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3.5-turbo-0301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r>
              <a:rPr lang="en-GB" sz="1200" dirty="0"/>
              <a:t>2 examples</a:t>
            </a:r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C1E269-CD3D-878E-75AF-4EE39B29C145}"/>
              </a:ext>
            </a:extLst>
          </p:cNvPr>
          <p:cNvSpPr txBox="1"/>
          <p:nvPr/>
        </p:nvSpPr>
        <p:spPr>
          <a:xfrm>
            <a:off x="444843" y="57953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C41CD60-6B4C-9CBA-379A-6678CA8DD9BB}"/>
              </a:ext>
            </a:extLst>
          </p:cNvPr>
          <p:cNvSpPr txBox="1"/>
          <p:nvPr/>
        </p:nvSpPr>
        <p:spPr>
          <a:xfrm>
            <a:off x="2857774" y="1482407"/>
            <a:ext cx="4802918" cy="19236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Auto-generated few shot </a:t>
            </a:r>
            <a:r>
              <a:rPr lang="en-GB" sz="900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oT</a:t>
            </a:r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-Prompt with two examples in the format:</a:t>
            </a: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Q: Are the following two products the same?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Product 1: …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Product 2: …</a:t>
            </a:r>
            <a:endParaRPr lang="en-GB" sz="9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A: </a:t>
            </a:r>
            <a:r>
              <a:rPr lang="en-GB" sz="900" i="1" dirty="0">
                <a:solidFill>
                  <a:srgbClr val="CE9178"/>
                </a:solidFill>
                <a:latin typeface="Menlo" panose="020B0609030804020204" pitchFamily="49" charset="0"/>
              </a:rPr>
              <a:t>Reasoning</a:t>
            </a:r>
          </a:p>
          <a:p>
            <a:r>
              <a:rPr lang="en-GB" sz="900" i="1" dirty="0">
                <a:solidFill>
                  <a:srgbClr val="CE9178"/>
                </a:solidFill>
                <a:latin typeface="Menlo" panose="020B0609030804020204" pitchFamily="49" charset="0"/>
              </a:rPr>
              <a:t>Result (Match or No Match)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…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Q: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A: Let’s think step by step!</a:t>
            </a:r>
          </a:p>
          <a:p>
            <a:endParaRPr lang="en-GB" sz="9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endParaRPr lang="en-GB" sz="9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DE" sz="11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B50B46-D5E1-A113-01AC-EBF46C39792D}"/>
              </a:ext>
            </a:extLst>
          </p:cNvPr>
          <p:cNvSpPr txBox="1"/>
          <p:nvPr/>
        </p:nvSpPr>
        <p:spPr>
          <a:xfrm>
            <a:off x="4065373" y="292855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graphicFrame>
        <p:nvGraphicFramePr>
          <p:cNvPr id="26" name="Table 26">
            <a:extLst>
              <a:ext uri="{FF2B5EF4-FFF2-40B4-BE49-F238E27FC236}">
                <a16:creationId xmlns:a16="http://schemas.microsoft.com/office/drawing/2014/main" id="{75E33A57-DB8F-C5B7-0F2D-1575AE4DC1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0020611"/>
              </p:ext>
            </p:extLst>
          </p:nvPr>
        </p:nvGraphicFramePr>
        <p:xfrm>
          <a:off x="864288" y="3789363"/>
          <a:ext cx="10512425" cy="123454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67775">
                  <a:extLst>
                    <a:ext uri="{9D8B030D-6E8A-4147-A177-3AD203B41FA5}">
                      <a16:colId xmlns:a16="http://schemas.microsoft.com/office/drawing/2014/main" val="1301624438"/>
                    </a:ext>
                  </a:extLst>
                </a:gridCol>
                <a:gridCol w="2311868">
                  <a:extLst>
                    <a:ext uri="{9D8B030D-6E8A-4147-A177-3AD203B41FA5}">
                      <a16:colId xmlns:a16="http://schemas.microsoft.com/office/drawing/2014/main" val="1220160376"/>
                    </a:ext>
                  </a:extLst>
                </a:gridCol>
                <a:gridCol w="1540750">
                  <a:extLst>
                    <a:ext uri="{9D8B030D-6E8A-4147-A177-3AD203B41FA5}">
                      <a16:colId xmlns:a16="http://schemas.microsoft.com/office/drawing/2014/main" val="2586736192"/>
                    </a:ext>
                  </a:extLst>
                </a:gridCol>
                <a:gridCol w="2289547">
                  <a:extLst>
                    <a:ext uri="{9D8B030D-6E8A-4147-A177-3AD203B41FA5}">
                      <a16:colId xmlns:a16="http://schemas.microsoft.com/office/drawing/2014/main" val="2983772812"/>
                    </a:ext>
                  </a:extLst>
                </a:gridCol>
                <a:gridCol w="2102485">
                  <a:extLst>
                    <a:ext uri="{9D8B030D-6E8A-4147-A177-3AD203B41FA5}">
                      <a16:colId xmlns:a16="http://schemas.microsoft.com/office/drawing/2014/main" val="2582006826"/>
                    </a:ext>
                  </a:extLst>
                </a:gridCol>
              </a:tblGrid>
              <a:tr h="655423">
                <a:tc>
                  <a:txBody>
                    <a:bodyPr/>
                    <a:lstStyle/>
                    <a:p>
                      <a:r>
                        <a:rPr lang="en-DE" sz="1600"/>
                        <a:t>Accuracy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Precision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Recall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F1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Confusion Matrix</a:t>
                      </a:r>
                      <a:endParaRPr lang="en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459868"/>
                  </a:ext>
                </a:extLst>
              </a:tr>
              <a:tr h="548958">
                <a:tc>
                  <a:txBody>
                    <a:bodyPr/>
                    <a:lstStyle/>
                    <a:p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8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6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8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194   2]</a:t>
                      </a:r>
                    </a:p>
                    <a:p>
                      <a:pPr marL="0" algn="l" defTabSz="914400" rtl="0" eaLnBrk="1" latinLnBrk="0" hangingPunct="1"/>
                      <a:r>
                        <a:rPr lang="en-D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11  14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16710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ED20F4B-1120-4AFB-58EC-2E41923D4A58}"/>
              </a:ext>
            </a:extLst>
          </p:cNvPr>
          <p:cNvSpPr txBox="1"/>
          <p:nvPr/>
        </p:nvSpPr>
        <p:spPr>
          <a:xfrm>
            <a:off x="849838" y="5347095"/>
            <a:ext cx="48292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è"/>
            </a:pPr>
            <a:r>
              <a:rPr lang="de-DE" dirty="0" err="1"/>
              <a:t>Similar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manual-few-shot-CoT</a:t>
            </a:r>
            <a:endParaRPr lang="de-DE" dirty="0"/>
          </a:p>
          <a:p>
            <a:pPr marL="285750" indent="-285750">
              <a:buFont typeface="Wingdings" pitchFamily="2" charset="2"/>
              <a:buChar char="è"/>
            </a:pPr>
            <a:r>
              <a:rPr lang="de-DE" dirty="0"/>
              <a:t>Still </a:t>
            </a:r>
            <a:r>
              <a:rPr lang="de-DE" dirty="0" err="1"/>
              <a:t>worse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Baseline Prompt</a:t>
            </a:r>
            <a:endParaRPr lang="en-DE" dirty="0"/>
          </a:p>
          <a:p>
            <a:pPr marL="285750" indent="-285750">
              <a:buFont typeface="Wingdings" pitchFamily="2" charset="2"/>
              <a:buChar char="è"/>
            </a:pP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913658-9903-6BFD-1602-1F72FD3EBFC9}"/>
              </a:ext>
            </a:extLst>
          </p:cNvPr>
          <p:cNvSpPr txBox="1"/>
          <p:nvPr/>
        </p:nvSpPr>
        <p:spPr>
          <a:xfrm>
            <a:off x="839788" y="2903683"/>
            <a:ext cx="210112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Eval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3.5-turbo-0301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45E928-1CDD-8BAC-D492-5742EAA7EE9F}"/>
              </a:ext>
            </a:extLst>
          </p:cNvPr>
          <p:cNvSpPr txBox="1"/>
          <p:nvPr/>
        </p:nvSpPr>
        <p:spPr>
          <a:xfrm>
            <a:off x="2857774" y="2903683"/>
            <a:ext cx="473398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Decide if this answer corresponds to two products matching or not.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lease answer with "match" or "no match".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Answer: {</a:t>
            </a:r>
            <a:r>
              <a:rPr lang="en-GB" sz="900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hain_of_thought_reasoning</a:t>
            </a:r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1B1F8BE-1CB3-8F97-FD0D-5FCC7E4E686A}"/>
              </a:ext>
            </a:extLst>
          </p:cNvPr>
          <p:cNvSpPr txBox="1"/>
          <p:nvPr/>
        </p:nvSpPr>
        <p:spPr>
          <a:xfrm>
            <a:off x="5096681" y="2126144"/>
            <a:ext cx="899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200" dirty="0"/>
              <a:t>Conclusion</a:t>
            </a:r>
          </a:p>
        </p:txBody>
      </p:sp>
      <p:sp>
        <p:nvSpPr>
          <p:cNvPr id="9" name="Left Arrow 8">
            <a:extLst>
              <a:ext uri="{FF2B5EF4-FFF2-40B4-BE49-F238E27FC236}">
                <a16:creationId xmlns:a16="http://schemas.microsoft.com/office/drawing/2014/main" id="{45AF4B79-C9C4-31B8-0B86-9A920C8026A5}"/>
              </a:ext>
            </a:extLst>
          </p:cNvPr>
          <p:cNvSpPr/>
          <p:nvPr/>
        </p:nvSpPr>
        <p:spPr>
          <a:xfrm>
            <a:off x="4821108" y="2151909"/>
            <a:ext cx="275573" cy="225469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559703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1E552-0305-DA9E-40D4-B562686D8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Auto-few-shot-CoT (no conclusion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3C144B-8FBC-6E1F-C8A7-8574FDC0A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lang="en-DE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2B14DA8-3D3B-251C-CE01-CBA84528A1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2491" y="1089024"/>
            <a:ext cx="10511308" cy="360363"/>
          </a:xfrm>
        </p:spPr>
        <p:txBody>
          <a:bodyPr/>
          <a:lstStyle/>
          <a:p>
            <a:r>
              <a:rPr lang="en-GB" sz="1200" b="1" dirty="0">
                <a:effectLst/>
              </a:rPr>
              <a:t>Reasoning is generated by </a:t>
            </a:r>
            <a:r>
              <a:rPr lang="en-GB" sz="1200" b="1" dirty="0"/>
              <a:t>GPT 3.5-turbo-0301 through Zero-Shot Prompting</a:t>
            </a:r>
            <a:endParaRPr lang="en-GB" sz="1200" b="1" dirty="0">
              <a:effectLst/>
            </a:endParaRPr>
          </a:p>
          <a:p>
            <a:r>
              <a:rPr lang="en-GB" sz="1200" b="1" dirty="0">
                <a:effectLst/>
              </a:rPr>
              <a:t>Dataset</a:t>
            </a:r>
            <a:r>
              <a:rPr lang="en-GB" sz="1200" b="0" dirty="0">
                <a:effectLst/>
              </a:rPr>
              <a:t>: WDC</a:t>
            </a:r>
          </a:p>
          <a:p>
            <a:endParaRPr lang="en-GB" sz="1600" b="0" dirty="0">
              <a:effectLst/>
            </a:endParaRPr>
          </a:p>
          <a:p>
            <a:endParaRPr lang="en-DE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03499C-5067-E9F6-D944-B3E0EECA285C}"/>
              </a:ext>
            </a:extLst>
          </p:cNvPr>
          <p:cNvSpPr txBox="1"/>
          <p:nvPr/>
        </p:nvSpPr>
        <p:spPr>
          <a:xfrm>
            <a:off x="839788" y="1482407"/>
            <a:ext cx="21011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CoT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3.5-turbo-0301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r>
              <a:rPr lang="en-GB" sz="1200" dirty="0"/>
              <a:t>2 examples</a:t>
            </a:r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C1E269-CD3D-878E-75AF-4EE39B29C145}"/>
              </a:ext>
            </a:extLst>
          </p:cNvPr>
          <p:cNvSpPr txBox="1"/>
          <p:nvPr/>
        </p:nvSpPr>
        <p:spPr>
          <a:xfrm>
            <a:off x="444843" y="57953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C41CD60-6B4C-9CBA-379A-6678CA8DD9BB}"/>
              </a:ext>
            </a:extLst>
          </p:cNvPr>
          <p:cNvSpPr txBox="1"/>
          <p:nvPr/>
        </p:nvSpPr>
        <p:spPr>
          <a:xfrm>
            <a:off x="2857774" y="1482407"/>
            <a:ext cx="4802918" cy="17851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Auto-generated few shot </a:t>
            </a:r>
            <a:r>
              <a:rPr lang="en-GB" sz="900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oT</a:t>
            </a:r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-Prompt with two examples in the format:</a:t>
            </a: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Q: Are the following two products the same?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Product 1: …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Product 2: …</a:t>
            </a:r>
            <a:endParaRPr lang="en-GB" sz="9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A: </a:t>
            </a:r>
            <a:r>
              <a:rPr lang="en-GB" sz="900" i="1" dirty="0">
                <a:solidFill>
                  <a:srgbClr val="CE9178"/>
                </a:solidFill>
                <a:latin typeface="Menlo" panose="020B0609030804020204" pitchFamily="49" charset="0"/>
              </a:rPr>
              <a:t>Reasoning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…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Q: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A: Let’s think step by step!</a:t>
            </a:r>
          </a:p>
          <a:p>
            <a:endParaRPr lang="en-GB" sz="9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endParaRPr lang="en-GB" sz="9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DE" sz="11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B50B46-D5E1-A113-01AC-EBF46C39792D}"/>
              </a:ext>
            </a:extLst>
          </p:cNvPr>
          <p:cNvSpPr txBox="1"/>
          <p:nvPr/>
        </p:nvSpPr>
        <p:spPr>
          <a:xfrm>
            <a:off x="4065373" y="292855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graphicFrame>
        <p:nvGraphicFramePr>
          <p:cNvPr id="26" name="Table 26">
            <a:extLst>
              <a:ext uri="{FF2B5EF4-FFF2-40B4-BE49-F238E27FC236}">
                <a16:creationId xmlns:a16="http://schemas.microsoft.com/office/drawing/2014/main" id="{75E33A57-DB8F-C5B7-0F2D-1575AE4DC1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4223015"/>
              </p:ext>
            </p:extLst>
          </p:nvPr>
        </p:nvGraphicFramePr>
        <p:xfrm>
          <a:off x="864288" y="3789363"/>
          <a:ext cx="10512425" cy="123454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67775">
                  <a:extLst>
                    <a:ext uri="{9D8B030D-6E8A-4147-A177-3AD203B41FA5}">
                      <a16:colId xmlns:a16="http://schemas.microsoft.com/office/drawing/2014/main" val="1301624438"/>
                    </a:ext>
                  </a:extLst>
                </a:gridCol>
                <a:gridCol w="2311868">
                  <a:extLst>
                    <a:ext uri="{9D8B030D-6E8A-4147-A177-3AD203B41FA5}">
                      <a16:colId xmlns:a16="http://schemas.microsoft.com/office/drawing/2014/main" val="1220160376"/>
                    </a:ext>
                  </a:extLst>
                </a:gridCol>
                <a:gridCol w="1540750">
                  <a:extLst>
                    <a:ext uri="{9D8B030D-6E8A-4147-A177-3AD203B41FA5}">
                      <a16:colId xmlns:a16="http://schemas.microsoft.com/office/drawing/2014/main" val="2586736192"/>
                    </a:ext>
                  </a:extLst>
                </a:gridCol>
                <a:gridCol w="2289547">
                  <a:extLst>
                    <a:ext uri="{9D8B030D-6E8A-4147-A177-3AD203B41FA5}">
                      <a16:colId xmlns:a16="http://schemas.microsoft.com/office/drawing/2014/main" val="2983772812"/>
                    </a:ext>
                  </a:extLst>
                </a:gridCol>
                <a:gridCol w="2102485">
                  <a:extLst>
                    <a:ext uri="{9D8B030D-6E8A-4147-A177-3AD203B41FA5}">
                      <a16:colId xmlns:a16="http://schemas.microsoft.com/office/drawing/2014/main" val="2582006826"/>
                    </a:ext>
                  </a:extLst>
                </a:gridCol>
              </a:tblGrid>
              <a:tr h="655423">
                <a:tc>
                  <a:txBody>
                    <a:bodyPr/>
                    <a:lstStyle/>
                    <a:p>
                      <a:r>
                        <a:rPr lang="en-DE" sz="1600"/>
                        <a:t>Accuracy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Precision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Recall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F1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Confusion Matrix</a:t>
                      </a:r>
                      <a:endParaRPr lang="en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459868"/>
                  </a:ext>
                </a:extLst>
              </a:tr>
              <a:tr h="548958">
                <a:tc>
                  <a:txBody>
                    <a:bodyPr/>
                    <a:lstStyle/>
                    <a:p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2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6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7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193   3]</a:t>
                      </a:r>
                    </a:p>
                    <a:p>
                      <a:pPr marL="0" algn="l" defTabSz="914400" rtl="0" eaLnBrk="1" latinLnBrk="0" hangingPunct="1"/>
                      <a:r>
                        <a:rPr lang="en-D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11  14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16710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ED20F4B-1120-4AFB-58EC-2E41923D4A58}"/>
              </a:ext>
            </a:extLst>
          </p:cNvPr>
          <p:cNvSpPr txBox="1"/>
          <p:nvPr/>
        </p:nvSpPr>
        <p:spPr>
          <a:xfrm>
            <a:off x="849838" y="5347095"/>
            <a:ext cx="472821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è"/>
            </a:pPr>
            <a:r>
              <a:rPr lang="de-DE" dirty="0" err="1"/>
              <a:t>Slightly</a:t>
            </a:r>
            <a:r>
              <a:rPr lang="de-DE" dirty="0"/>
              <a:t> </a:t>
            </a:r>
            <a:r>
              <a:rPr lang="de-DE" dirty="0" err="1"/>
              <a:t>worse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, but </a:t>
            </a:r>
            <a:r>
              <a:rPr lang="de-DE" dirty="0" err="1"/>
              <a:t>neglectable</a:t>
            </a:r>
            <a:endParaRPr lang="de-DE" dirty="0"/>
          </a:p>
          <a:p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913658-9903-6BFD-1602-1F72FD3EBFC9}"/>
              </a:ext>
            </a:extLst>
          </p:cNvPr>
          <p:cNvSpPr txBox="1"/>
          <p:nvPr/>
        </p:nvSpPr>
        <p:spPr>
          <a:xfrm>
            <a:off x="839788" y="2903683"/>
            <a:ext cx="210112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Eval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3.5-turbo-0301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45E928-1CDD-8BAC-D492-5742EAA7EE9F}"/>
              </a:ext>
            </a:extLst>
          </p:cNvPr>
          <p:cNvSpPr txBox="1"/>
          <p:nvPr/>
        </p:nvSpPr>
        <p:spPr>
          <a:xfrm>
            <a:off x="2857774" y="2903683"/>
            <a:ext cx="473398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Decide if this answer corresponds to two products matching or not.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lease answer with "match" or "no match".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Answer: {</a:t>
            </a:r>
            <a:r>
              <a:rPr lang="en-GB" sz="900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hain_of_thought_reasoning</a:t>
            </a:r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6181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1E552-0305-DA9E-40D4-B562686D8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Auto-few-shot-CoT (GPT 4 few-shot reasoning)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3C144B-8FBC-6E1F-C8A7-8574FDC0A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lang="en-DE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2B14DA8-3D3B-251C-CE01-CBA84528A1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2491" y="1089024"/>
            <a:ext cx="10511308" cy="360363"/>
          </a:xfrm>
        </p:spPr>
        <p:txBody>
          <a:bodyPr/>
          <a:lstStyle/>
          <a:p>
            <a:r>
              <a:rPr lang="en-GB" sz="1200" b="1" dirty="0">
                <a:effectLst/>
              </a:rPr>
              <a:t>Reasoning is generated by </a:t>
            </a:r>
            <a:r>
              <a:rPr lang="en-GB" sz="1200" b="1" dirty="0"/>
              <a:t>GPT 4-turbo-0613 through Zero-Shot Prompting</a:t>
            </a:r>
            <a:endParaRPr lang="en-GB" sz="1200" b="1" dirty="0">
              <a:effectLst/>
            </a:endParaRPr>
          </a:p>
          <a:p>
            <a:r>
              <a:rPr lang="en-GB" sz="1200" b="1" dirty="0">
                <a:effectLst/>
              </a:rPr>
              <a:t>Dataset</a:t>
            </a:r>
            <a:r>
              <a:rPr lang="en-GB" sz="1200" b="0" dirty="0">
                <a:effectLst/>
              </a:rPr>
              <a:t>: WDC</a:t>
            </a:r>
          </a:p>
          <a:p>
            <a:endParaRPr lang="en-GB" sz="1600" b="0" dirty="0">
              <a:effectLst/>
            </a:endParaRPr>
          </a:p>
          <a:p>
            <a:endParaRPr lang="en-DE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03499C-5067-E9F6-D944-B3E0EECA285C}"/>
              </a:ext>
            </a:extLst>
          </p:cNvPr>
          <p:cNvSpPr txBox="1"/>
          <p:nvPr/>
        </p:nvSpPr>
        <p:spPr>
          <a:xfrm>
            <a:off x="839788" y="1482407"/>
            <a:ext cx="21011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CoT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3.5-turbo-0301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r>
              <a:rPr lang="en-GB" sz="1200" dirty="0"/>
              <a:t>2 examples</a:t>
            </a:r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8C1E269-CD3D-878E-75AF-4EE39B29C145}"/>
              </a:ext>
            </a:extLst>
          </p:cNvPr>
          <p:cNvSpPr txBox="1"/>
          <p:nvPr/>
        </p:nvSpPr>
        <p:spPr>
          <a:xfrm>
            <a:off x="444843" y="57953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C41CD60-6B4C-9CBA-379A-6678CA8DD9BB}"/>
              </a:ext>
            </a:extLst>
          </p:cNvPr>
          <p:cNvSpPr txBox="1"/>
          <p:nvPr/>
        </p:nvSpPr>
        <p:spPr>
          <a:xfrm>
            <a:off x="2857774" y="1482407"/>
            <a:ext cx="4802918" cy="19236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Auto-generated few shot </a:t>
            </a:r>
            <a:r>
              <a:rPr lang="en-GB" sz="900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oT</a:t>
            </a:r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-Prompt with two examples in the format:</a:t>
            </a: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Q: Are the following two products the same?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Product 1: …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Product 2: …</a:t>
            </a:r>
            <a:endParaRPr lang="en-GB" sz="900" dirty="0">
              <a:solidFill>
                <a:srgbClr val="D4D4D4"/>
              </a:solidFill>
              <a:latin typeface="Menlo" panose="020B0609030804020204" pitchFamily="49" charset="0"/>
            </a:endParaRP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A: </a:t>
            </a:r>
            <a:r>
              <a:rPr lang="en-GB" sz="900" i="1" dirty="0">
                <a:solidFill>
                  <a:srgbClr val="CE9178"/>
                </a:solidFill>
                <a:latin typeface="Menlo" panose="020B0609030804020204" pitchFamily="49" charset="0"/>
              </a:rPr>
              <a:t>Reasoning</a:t>
            </a:r>
          </a:p>
          <a:p>
            <a:r>
              <a:rPr lang="en-GB" sz="900" i="1" dirty="0">
                <a:solidFill>
                  <a:srgbClr val="CE9178"/>
                </a:solidFill>
                <a:latin typeface="Menlo" panose="020B0609030804020204" pitchFamily="49" charset="0"/>
              </a:rPr>
              <a:t>Result (Match or No Match)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…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Q:</a:t>
            </a:r>
          </a:p>
          <a:p>
            <a:r>
              <a:rPr lang="en-GB" sz="900" dirty="0">
                <a:solidFill>
                  <a:srgbClr val="CE9178"/>
                </a:solidFill>
                <a:latin typeface="Menlo" panose="020B0609030804020204" pitchFamily="49" charset="0"/>
              </a:rPr>
              <a:t>A: Let’s think step by step!</a:t>
            </a:r>
          </a:p>
          <a:p>
            <a:endParaRPr lang="en-GB" sz="9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endParaRPr lang="en-GB" sz="900" dirty="0">
              <a:solidFill>
                <a:srgbClr val="CE9178"/>
              </a:solidFill>
              <a:latin typeface="Menlo" panose="020B0609030804020204" pitchFamily="49" charset="0"/>
            </a:endParaRPr>
          </a:p>
          <a:p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endParaRPr lang="en-DE" sz="11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B50B46-D5E1-A113-01AC-EBF46C39792D}"/>
              </a:ext>
            </a:extLst>
          </p:cNvPr>
          <p:cNvSpPr txBox="1"/>
          <p:nvPr/>
        </p:nvSpPr>
        <p:spPr>
          <a:xfrm>
            <a:off x="4065373" y="292855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DE" dirty="0"/>
          </a:p>
        </p:txBody>
      </p:sp>
      <p:graphicFrame>
        <p:nvGraphicFramePr>
          <p:cNvPr id="26" name="Table 26">
            <a:extLst>
              <a:ext uri="{FF2B5EF4-FFF2-40B4-BE49-F238E27FC236}">
                <a16:creationId xmlns:a16="http://schemas.microsoft.com/office/drawing/2014/main" id="{75E33A57-DB8F-C5B7-0F2D-1575AE4DC1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805312"/>
              </p:ext>
            </p:extLst>
          </p:nvPr>
        </p:nvGraphicFramePr>
        <p:xfrm>
          <a:off x="864288" y="3789363"/>
          <a:ext cx="10512425" cy="123454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67775">
                  <a:extLst>
                    <a:ext uri="{9D8B030D-6E8A-4147-A177-3AD203B41FA5}">
                      <a16:colId xmlns:a16="http://schemas.microsoft.com/office/drawing/2014/main" val="1301624438"/>
                    </a:ext>
                  </a:extLst>
                </a:gridCol>
                <a:gridCol w="2311868">
                  <a:extLst>
                    <a:ext uri="{9D8B030D-6E8A-4147-A177-3AD203B41FA5}">
                      <a16:colId xmlns:a16="http://schemas.microsoft.com/office/drawing/2014/main" val="1220160376"/>
                    </a:ext>
                  </a:extLst>
                </a:gridCol>
                <a:gridCol w="1540750">
                  <a:extLst>
                    <a:ext uri="{9D8B030D-6E8A-4147-A177-3AD203B41FA5}">
                      <a16:colId xmlns:a16="http://schemas.microsoft.com/office/drawing/2014/main" val="2586736192"/>
                    </a:ext>
                  </a:extLst>
                </a:gridCol>
                <a:gridCol w="2289547">
                  <a:extLst>
                    <a:ext uri="{9D8B030D-6E8A-4147-A177-3AD203B41FA5}">
                      <a16:colId xmlns:a16="http://schemas.microsoft.com/office/drawing/2014/main" val="2983772812"/>
                    </a:ext>
                  </a:extLst>
                </a:gridCol>
                <a:gridCol w="2102485">
                  <a:extLst>
                    <a:ext uri="{9D8B030D-6E8A-4147-A177-3AD203B41FA5}">
                      <a16:colId xmlns:a16="http://schemas.microsoft.com/office/drawing/2014/main" val="2582006826"/>
                    </a:ext>
                  </a:extLst>
                </a:gridCol>
              </a:tblGrid>
              <a:tr h="655423">
                <a:tc>
                  <a:txBody>
                    <a:bodyPr/>
                    <a:lstStyle/>
                    <a:p>
                      <a:r>
                        <a:rPr lang="en-DE" sz="1600"/>
                        <a:t>Accuracy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Precision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Recall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F1</a:t>
                      </a:r>
                      <a:endParaRPr lang="en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sz="1600"/>
                        <a:t>Confusion Matrix</a:t>
                      </a:r>
                      <a:endParaRPr lang="en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459868"/>
                  </a:ext>
                </a:extLst>
              </a:tr>
              <a:tr h="548958">
                <a:tc>
                  <a:txBody>
                    <a:bodyPr/>
                    <a:lstStyle/>
                    <a:p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6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2</a:t>
                      </a:r>
                      <a:endParaRPr lang="en-DE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D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190   6]</a:t>
                      </a:r>
                    </a:p>
                    <a:p>
                      <a:pPr marL="0" algn="l" defTabSz="914400" rtl="0" eaLnBrk="1" latinLnBrk="0" hangingPunct="1"/>
                      <a:r>
                        <a:rPr lang="en-D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 11  14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16710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ED20F4B-1120-4AFB-58EC-2E41923D4A58}"/>
              </a:ext>
            </a:extLst>
          </p:cNvPr>
          <p:cNvSpPr txBox="1"/>
          <p:nvPr/>
        </p:nvSpPr>
        <p:spPr>
          <a:xfrm>
            <a:off x="849838" y="5347095"/>
            <a:ext cx="71817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è"/>
            </a:pPr>
            <a:r>
              <a:rPr lang="de-DE" dirty="0" err="1"/>
              <a:t>Worse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GPT 3.5 </a:t>
            </a:r>
            <a:r>
              <a:rPr lang="de-DE" dirty="0" err="1"/>
              <a:t>generated</a:t>
            </a:r>
            <a:r>
              <a:rPr lang="de-DE" dirty="0"/>
              <a:t> </a:t>
            </a:r>
            <a:r>
              <a:rPr lang="de-DE" dirty="0" err="1"/>
              <a:t>few-shot</a:t>
            </a:r>
            <a:r>
              <a:rPr lang="de-DE" dirty="0"/>
              <a:t> </a:t>
            </a:r>
            <a:r>
              <a:rPr lang="de-DE" dirty="0" err="1"/>
              <a:t>Reasoning</a:t>
            </a:r>
            <a:endParaRPr lang="de-DE" dirty="0"/>
          </a:p>
          <a:p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913658-9903-6BFD-1602-1F72FD3EBFC9}"/>
              </a:ext>
            </a:extLst>
          </p:cNvPr>
          <p:cNvSpPr txBox="1"/>
          <p:nvPr/>
        </p:nvSpPr>
        <p:spPr>
          <a:xfrm>
            <a:off x="839788" y="2903683"/>
            <a:ext cx="210112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dirty="0">
                <a:latin typeface="+mj-lt"/>
              </a:rPr>
              <a:t>Eval Prompt:</a:t>
            </a:r>
          </a:p>
          <a:p>
            <a:r>
              <a:rPr lang="en-GB" sz="1200" b="1" dirty="0"/>
              <a:t>Model</a:t>
            </a:r>
            <a:r>
              <a:rPr lang="en-GB" sz="1200" dirty="0"/>
              <a:t>: GPT 3.5-turbo-0301</a:t>
            </a:r>
          </a:p>
          <a:p>
            <a:r>
              <a:rPr lang="en-GB" sz="1200" b="1" dirty="0"/>
              <a:t>Temp: </a:t>
            </a:r>
            <a:r>
              <a:rPr lang="en-GB" sz="1200" dirty="0"/>
              <a:t>0</a:t>
            </a:r>
          </a:p>
          <a:p>
            <a:r>
              <a:rPr lang="en-DE" dirty="0">
                <a:latin typeface="+mj-lt"/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45E928-1CDD-8BAC-D492-5742EAA7EE9F}"/>
              </a:ext>
            </a:extLst>
          </p:cNvPr>
          <p:cNvSpPr txBox="1"/>
          <p:nvPr/>
        </p:nvSpPr>
        <p:spPr>
          <a:xfrm>
            <a:off x="2857774" y="2903683"/>
            <a:ext cx="473398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Decide if this answer corresponds to two products matching or not.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Please answer with "match" or "no match".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Answer: {</a:t>
            </a:r>
            <a:r>
              <a:rPr lang="en-GB" sz="900" b="0" dirty="0" err="1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chain_of_thought_reasoning</a:t>
            </a:r>
            <a:r>
              <a:rPr lang="en-GB" sz="900" b="0" dirty="0">
                <a:solidFill>
                  <a:srgbClr val="CE9178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900" b="0" dirty="0">
              <a:solidFill>
                <a:srgbClr val="D4D4D4"/>
              </a:solidFill>
              <a:effectLst/>
              <a:latin typeface="Menlo" panose="020B060903080402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11396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Benutzerdefiniert 11">
      <a:dk1>
        <a:srgbClr val="000000"/>
      </a:dk1>
      <a:lt1>
        <a:srgbClr val="FFFFFF"/>
      </a:lt1>
      <a:dk2>
        <a:srgbClr val="4471C3"/>
      </a:dk2>
      <a:lt2>
        <a:srgbClr val="DAE3F3"/>
      </a:lt2>
      <a:accent1>
        <a:srgbClr val="203864"/>
      </a:accent1>
      <a:accent2>
        <a:srgbClr val="2F5597"/>
      </a:accent2>
      <a:accent3>
        <a:srgbClr val="8FAADC"/>
      </a:accent3>
      <a:accent4>
        <a:srgbClr val="B3C7E7"/>
      </a:accent4>
      <a:accent5>
        <a:srgbClr val="DAE3F3"/>
      </a:accent5>
      <a:accent6>
        <a:srgbClr val="BFBFBF"/>
      </a:accent6>
      <a:hlink>
        <a:srgbClr val="203864"/>
      </a:hlink>
      <a:folHlink>
        <a:srgbClr val="FF6900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220505_Slidemaster_TB_PB" id="{E5801C75-A4F4-AA40-B8F1-8DEC8E716A66}" vid="{CABAF370-4948-3C45-8BF1-38C2B07E760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27757AA09DAE1448900EC528FF75557" ma:contentTypeVersion="0" ma:contentTypeDescription="Ein neues Dokument erstellen." ma:contentTypeScope="" ma:versionID="c0c0dea3fb4ec9aaf22cec714dee272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7d5e11d0132dc5bb78ad0fb0e89938ac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2FF5CED-2088-450E-A0DC-C5D1C38FFC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904F5B5-7E99-459D-89FB-89BA9AB2D10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2A5D43-E2A9-4452-98B5-2B5C8BB788AD}">
  <ds:schemaRefs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367</TotalTime>
  <Words>1786</Words>
  <Application>Microsoft Macintosh PowerPoint</Application>
  <PresentationFormat>Widescreen</PresentationFormat>
  <Paragraphs>476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2" baseType="lpstr">
      <vt:lpstr>CMSSBX10</vt:lpstr>
      <vt:lpstr>Google Sans</vt:lpstr>
      <vt:lpstr>Times</vt:lpstr>
      <vt:lpstr>Arial</vt:lpstr>
      <vt:lpstr>Calibri</vt:lpstr>
      <vt:lpstr>Franklin Gothic Book</vt:lpstr>
      <vt:lpstr>Franklin Gothic Demi</vt:lpstr>
      <vt:lpstr>Franklin Gothic Heavy</vt:lpstr>
      <vt:lpstr>Franklin Gothic Medium</vt:lpstr>
      <vt:lpstr>Menlo</vt:lpstr>
      <vt:lpstr>Wingdings</vt:lpstr>
      <vt:lpstr>1_Office Theme</vt:lpstr>
      <vt:lpstr>think-cell Folie</vt:lpstr>
      <vt:lpstr>PowerPoint Presentation</vt:lpstr>
      <vt:lpstr>DATASETS</vt:lpstr>
      <vt:lpstr> WDC </vt:lpstr>
      <vt:lpstr>Zero-Shot-CoT</vt:lpstr>
      <vt:lpstr>Manual-few-shot-CoT</vt:lpstr>
      <vt:lpstr>Manual-few-shot-CoT (different Eval Prompt)</vt:lpstr>
      <vt:lpstr>Auto-few-shot-CoT</vt:lpstr>
      <vt:lpstr>Auto-few-shot-CoT (no conclusion)</vt:lpstr>
      <vt:lpstr>Auto-few-shot-CoT (GPT 4 few-shot reasoning) </vt:lpstr>
      <vt:lpstr>Baseline Prompt GPT 4</vt:lpstr>
      <vt:lpstr>Auto-few-shot-CoT (GPT 4 few-shot reasoning + GPT 4 CoT reasoning) </vt:lpstr>
      <vt:lpstr>Amazon-Walmart Dataset  </vt:lpstr>
      <vt:lpstr>Manual-few-shot-CoT</vt:lpstr>
      <vt:lpstr>Auto-few-shot-CoT </vt:lpstr>
      <vt:lpstr>Amazon-Google Dataset  </vt:lpstr>
      <vt:lpstr>Manual-few-shot-CoT</vt:lpstr>
      <vt:lpstr> Llama </vt:lpstr>
      <vt:lpstr>Baseline Prompt</vt:lpstr>
      <vt:lpstr>Next Steps…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c Pritsch</dc:creator>
  <cp:lastModifiedBy>Paul Daniel Burkhardt</cp:lastModifiedBy>
  <cp:revision>15</cp:revision>
  <dcterms:created xsi:type="dcterms:W3CDTF">2022-08-12T19:40:42Z</dcterms:created>
  <dcterms:modified xsi:type="dcterms:W3CDTF">2023-10-23T19:58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27757AA09DAE1448900EC528FF75557</vt:lpwstr>
  </property>
  <property fmtid="{D5CDD505-2E9C-101B-9397-08002B2CF9AE}" pid="3" name="xd_ProgID">
    <vt:lpwstr/>
  </property>
  <property fmtid="{D5CDD505-2E9C-101B-9397-08002B2CF9AE}" pid="4" name="_SourceUrl">
    <vt:lpwstr/>
  </property>
  <property fmtid="{D5CDD505-2E9C-101B-9397-08002B2CF9AE}" pid="5" name="_SharedFileIndex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Order">
    <vt:lpwstr>51800.0000000000</vt:lpwstr>
  </property>
</Properties>
</file>